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7.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8.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9.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1.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3.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2" r:id="rId2"/>
    <p:sldMasterId id="2147483704" r:id="rId3"/>
    <p:sldMasterId id="2147483726" r:id="rId4"/>
    <p:sldMasterId id="2147483753" r:id="rId5"/>
    <p:sldMasterId id="2147483792" r:id="rId6"/>
    <p:sldMasterId id="2147483830" r:id="rId7"/>
    <p:sldMasterId id="2147483850" r:id="rId8"/>
    <p:sldMasterId id="2147483890" r:id="rId9"/>
    <p:sldMasterId id="2147483929" r:id="rId10"/>
    <p:sldMasterId id="2147483949" r:id="rId11"/>
    <p:sldMasterId id="2147483972" r:id="rId12"/>
    <p:sldMasterId id="2147483991" r:id="rId13"/>
    <p:sldMasterId id="2147484011" r:id="rId14"/>
  </p:sldMasterIdLst>
  <p:notesMasterIdLst>
    <p:notesMasterId r:id="rId55"/>
  </p:notesMasterIdLst>
  <p:sldIdLst>
    <p:sldId id="307" r:id="rId15"/>
    <p:sldId id="380" r:id="rId16"/>
    <p:sldId id="377" r:id="rId17"/>
    <p:sldId id="378" r:id="rId18"/>
    <p:sldId id="379" r:id="rId19"/>
    <p:sldId id="373" r:id="rId20"/>
    <p:sldId id="374" r:id="rId21"/>
    <p:sldId id="375" r:id="rId22"/>
    <p:sldId id="280" r:id="rId23"/>
    <p:sldId id="279" r:id="rId24"/>
    <p:sldId id="311" r:id="rId25"/>
    <p:sldId id="308" r:id="rId26"/>
    <p:sldId id="281" r:id="rId27"/>
    <p:sldId id="283" r:id="rId28"/>
    <p:sldId id="284" r:id="rId29"/>
    <p:sldId id="285" r:id="rId30"/>
    <p:sldId id="312" r:id="rId31"/>
    <p:sldId id="310" r:id="rId32"/>
    <p:sldId id="313" r:id="rId33"/>
    <p:sldId id="315" r:id="rId34"/>
    <p:sldId id="317" r:id="rId35"/>
    <p:sldId id="318" r:id="rId36"/>
    <p:sldId id="368" r:id="rId37"/>
    <p:sldId id="319" r:id="rId38"/>
    <p:sldId id="369" r:id="rId39"/>
    <p:sldId id="321" r:id="rId40"/>
    <p:sldId id="370" r:id="rId41"/>
    <p:sldId id="371" r:id="rId42"/>
    <p:sldId id="372" r:id="rId43"/>
    <p:sldId id="323" r:id="rId44"/>
    <p:sldId id="324" r:id="rId45"/>
    <p:sldId id="325" r:id="rId46"/>
    <p:sldId id="326" r:id="rId47"/>
    <p:sldId id="327" r:id="rId48"/>
    <p:sldId id="328" r:id="rId49"/>
    <p:sldId id="329" r:id="rId50"/>
    <p:sldId id="351" r:id="rId51"/>
    <p:sldId id="352" r:id="rId52"/>
    <p:sldId id="376" r:id="rId53"/>
    <p:sldId id="306" r:id="rId54"/>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6" d="100"/>
          <a:sy n="86" d="100"/>
        </p:scale>
        <p:origin x="708"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75960A-D44A-42B2-8441-0A8663608A65}" type="datetimeFigureOut">
              <a:rPr lang="ko-KR" altLang="en-US" smtClean="0"/>
              <a:t>2016-05-10</a:t>
            </a:fld>
            <a:endParaRPr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smtClean="0"/>
              <a:t>마스터 텍스트 스타일 편집</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CF41AF-D08C-404F-9486-E4523F25AFF5}" type="slidenum">
              <a:rPr lang="ko-KR" altLang="en-US" smtClean="0"/>
              <a:t>‹#›</a:t>
            </a:fld>
            <a:endParaRPr lang="ko-KR" altLang="en-US"/>
          </a:p>
        </p:txBody>
      </p:sp>
    </p:spTree>
    <p:extLst>
      <p:ext uri="{BB962C8B-B14F-4D97-AF65-F5344CB8AC3E}">
        <p14:creationId xmlns:p14="http://schemas.microsoft.com/office/powerpoint/2010/main" val="1363312592"/>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ko-KR" altLang="en-US" dirty="0" smtClean="0"/>
              <a:t>안녕하세요 </a:t>
            </a:r>
            <a:r>
              <a:rPr lang="ko-KR" altLang="en-US" dirty="0" err="1" smtClean="0"/>
              <a:t>테크니컬</a:t>
            </a:r>
            <a:r>
              <a:rPr lang="ko-KR" altLang="en-US" dirty="0" smtClean="0"/>
              <a:t> </a:t>
            </a:r>
            <a:r>
              <a:rPr lang="ko-KR" altLang="en-US" dirty="0" err="1" smtClean="0"/>
              <a:t>에반젤리스트</a:t>
            </a:r>
            <a:r>
              <a:rPr lang="ko-KR" altLang="en-US" dirty="0" smtClean="0"/>
              <a:t> 김영욱입니다</a:t>
            </a:r>
            <a:r>
              <a:rPr lang="en-US" altLang="ko-KR" dirty="0" smtClean="0"/>
              <a:t>. </a:t>
            </a:r>
          </a:p>
          <a:p>
            <a:r>
              <a:rPr lang="ko-KR" altLang="en-US" dirty="0" smtClean="0"/>
              <a:t>평소에는 윈도우와 </a:t>
            </a:r>
            <a:r>
              <a:rPr lang="ko-KR" altLang="en-US" dirty="0" err="1" smtClean="0"/>
              <a:t>전쟁사</a:t>
            </a:r>
            <a:r>
              <a:rPr lang="ko-KR" altLang="en-US" dirty="0" smtClean="0"/>
              <a:t> 이야기를 많이 하고 있지만 최근에는 사물 인터넷 이야기를 많이 </a:t>
            </a:r>
            <a:r>
              <a:rPr lang="ko-KR" altLang="en-US" dirty="0" err="1" smtClean="0"/>
              <a:t>하게됩니다</a:t>
            </a:r>
            <a:r>
              <a:rPr lang="en-US" altLang="ko-KR" dirty="0" smtClean="0"/>
              <a:t>. </a:t>
            </a:r>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9B03225A-39E8-4656-A1C7-4E4AD68BF39C}"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1</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19911576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83276"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5/1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70556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83276"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5/1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3382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503" rtl="0" eaLnBrk="1" fontAlgn="auto" latinLnBrk="0" hangingPunct="1">
              <a:lnSpc>
                <a:spcPct val="90000"/>
              </a:lnSpc>
              <a:spcBef>
                <a:spcPts val="0"/>
              </a:spcBef>
              <a:spcAft>
                <a:spcPts val="340"/>
              </a:spcAft>
              <a:buClrTx/>
              <a:buSzTx/>
              <a:buFontTx/>
              <a:buNone/>
              <a:tabLst/>
              <a:defRPr/>
            </a:pPr>
            <a:r>
              <a:rPr lang="en-US" altLang="ko-KR" sz="2000" dirty="0" smtClean="0">
                <a:gradFill>
                  <a:gsLst>
                    <a:gs pos="0">
                      <a:srgbClr val="00B0F0"/>
                    </a:gs>
                    <a:gs pos="100000">
                      <a:srgbClr val="00B0F0"/>
                    </a:gs>
                  </a:gsLst>
                  <a:lin ang="5400000" scaled="0"/>
                </a:gradFill>
              </a:rPr>
              <a:t>24 x 7 x 365</a:t>
            </a:r>
            <a:r>
              <a:rPr lang="en-US" altLang="ko-KR" sz="1600" dirty="0" smtClean="0">
                <a:gradFill>
                  <a:gsLst>
                    <a:gs pos="0">
                      <a:srgbClr val="00B0F0"/>
                    </a:gs>
                    <a:gs pos="100000">
                      <a:srgbClr val="00B0F0"/>
                    </a:gs>
                  </a:gsLst>
                  <a:lin ang="5400000" scaled="0"/>
                </a:gradFill>
              </a:rPr>
              <a:t> </a:t>
            </a:r>
            <a:r>
              <a:rPr lang="ko-KR" altLang="en-US" dirty="0" smtClean="0">
                <a:gradFill>
                  <a:gsLst>
                    <a:gs pos="0">
                      <a:schemeClr val="tx1"/>
                    </a:gs>
                    <a:gs pos="100000">
                      <a:schemeClr val="tx1"/>
                    </a:gs>
                  </a:gsLst>
                </a:gradFill>
              </a:rPr>
              <a:t>지원</a:t>
            </a:r>
            <a:r>
              <a:rPr lang="en-US" altLang="ko-KR" dirty="0" smtClean="0">
                <a:gradFill>
                  <a:gsLst>
                    <a:gs pos="0">
                      <a:schemeClr val="tx1"/>
                    </a:gs>
                    <a:gs pos="100000">
                      <a:schemeClr val="tx1"/>
                    </a:gs>
                  </a:gsLst>
                </a:gradFill>
              </a:rPr>
              <a:t>, </a:t>
            </a:r>
            <a:r>
              <a:rPr lang="en-US" altLang="ko-KR" sz="2000" dirty="0" smtClean="0">
                <a:gradFill>
                  <a:gsLst>
                    <a:gs pos="0">
                      <a:srgbClr val="00B0F0"/>
                    </a:gs>
                    <a:gs pos="100000">
                      <a:srgbClr val="00B0F0"/>
                    </a:gs>
                  </a:gsLst>
                </a:gradFill>
              </a:rPr>
              <a:t>10</a:t>
            </a:r>
            <a:r>
              <a:rPr lang="ko-KR" altLang="en-US" sz="2000" dirty="0" smtClean="0">
                <a:gradFill>
                  <a:gsLst>
                    <a:gs pos="0">
                      <a:srgbClr val="00B0F0"/>
                    </a:gs>
                    <a:gs pos="100000">
                      <a:srgbClr val="00B0F0"/>
                    </a:gs>
                  </a:gsLst>
                </a:gradFill>
              </a:rPr>
              <a:t>억</a:t>
            </a:r>
            <a:r>
              <a:rPr lang="en-US" altLang="ko-KR" sz="2000" dirty="0" smtClean="0">
                <a:gradFill>
                  <a:gsLst>
                    <a:gs pos="0">
                      <a:srgbClr val="00B0F0"/>
                    </a:gs>
                    <a:gs pos="100000">
                      <a:srgbClr val="00B0F0"/>
                    </a:gs>
                  </a:gsLst>
                </a:gradFill>
              </a:rPr>
              <a:t> </a:t>
            </a:r>
            <a:r>
              <a:rPr lang="ko-KR" altLang="en-US" dirty="0" smtClean="0">
                <a:gradFill>
                  <a:gsLst>
                    <a:gs pos="0">
                      <a:schemeClr val="tx1"/>
                    </a:gs>
                    <a:gs pos="100000">
                      <a:schemeClr val="tx1"/>
                    </a:gs>
                  </a:gsLst>
                </a:gradFill>
              </a:rPr>
              <a:t>이상의 고객</a:t>
            </a:r>
            <a:r>
              <a:rPr lang="en-US" altLang="ko-KR" sz="2400" dirty="0" smtClean="0">
                <a:gradFill>
                  <a:gsLst>
                    <a:gs pos="0">
                      <a:schemeClr val="tx1"/>
                    </a:gs>
                    <a:gs pos="100000">
                      <a:schemeClr val="tx1"/>
                    </a:gs>
                  </a:gsLst>
                </a:gradFill>
              </a:rPr>
              <a:t>, </a:t>
            </a:r>
            <a:r>
              <a:rPr lang="en-US" altLang="ko-KR" sz="2000" dirty="0" smtClean="0">
                <a:gradFill>
                  <a:gsLst>
                    <a:gs pos="0">
                      <a:srgbClr val="00B0F0"/>
                    </a:gs>
                    <a:gs pos="100000">
                      <a:srgbClr val="00B0F0"/>
                    </a:gs>
                  </a:gsLst>
                </a:gradFill>
              </a:rPr>
              <a:t>2</a:t>
            </a:r>
            <a:r>
              <a:rPr lang="ko-KR" altLang="en-US" sz="2000" dirty="0" smtClean="0">
                <a:gradFill>
                  <a:gsLst>
                    <a:gs pos="0">
                      <a:srgbClr val="00B0F0"/>
                    </a:gs>
                    <a:gs pos="100000">
                      <a:srgbClr val="00B0F0"/>
                    </a:gs>
                  </a:gsLst>
                </a:gradFill>
              </a:rPr>
              <a:t>천만개의</a:t>
            </a:r>
            <a:r>
              <a:rPr lang="en-US" altLang="ko-KR" sz="2000" dirty="0" smtClean="0">
                <a:gradFill>
                  <a:gsLst>
                    <a:gs pos="0">
                      <a:srgbClr val="00B0F0"/>
                    </a:gs>
                    <a:gs pos="100000">
                      <a:srgbClr val="00B0F0"/>
                    </a:gs>
                  </a:gsLst>
                </a:gradFill>
              </a:rPr>
              <a:t> </a:t>
            </a:r>
            <a:r>
              <a:rPr lang="ko-KR" altLang="en-US" sz="2000" dirty="0" smtClean="0">
                <a:gradFill>
                  <a:gsLst>
                    <a:gs pos="0">
                      <a:srgbClr val="00B0F0"/>
                    </a:gs>
                    <a:gs pos="100000">
                      <a:srgbClr val="00B0F0"/>
                    </a:gs>
                  </a:gsLst>
                </a:gradFill>
              </a:rPr>
              <a:t>비즈니스</a:t>
            </a:r>
            <a:r>
              <a:rPr lang="en-US" altLang="ko-KR" sz="2000" dirty="0" smtClean="0">
                <a:gradFill>
                  <a:gsLst>
                    <a:gs pos="0">
                      <a:srgbClr val="00B0F0"/>
                    </a:gs>
                    <a:gs pos="100000">
                      <a:srgbClr val="00B0F0"/>
                    </a:gs>
                  </a:gsLst>
                </a:gradFill>
              </a:rPr>
              <a:t>, 76</a:t>
            </a:r>
            <a:r>
              <a:rPr lang="en-US" altLang="ko-KR" sz="1600" dirty="0" smtClean="0"/>
              <a:t> </a:t>
            </a:r>
            <a:r>
              <a:rPr lang="ko-KR" altLang="en-US" sz="1600" dirty="0" smtClean="0"/>
              <a:t>전세계 마켓에서 사용</a:t>
            </a:r>
            <a:endParaRPr lang="en-US" altLang="ko-KR" dirty="0" smtClean="0">
              <a:gradFill>
                <a:gsLst>
                  <a:gs pos="0">
                    <a:schemeClr val="tx1"/>
                  </a:gs>
                  <a:gs pos="100000">
                    <a:schemeClr val="tx1"/>
                  </a:gs>
                </a:gsLst>
              </a:gradFill>
            </a:endParaRPr>
          </a:p>
          <a:p>
            <a:endParaRPr lang="en-US" dirty="0"/>
          </a:p>
        </p:txBody>
      </p:sp>
      <p:sp>
        <p:nvSpPr>
          <p:cNvPr id="4" name="Footer Placeholder 3"/>
          <p:cNvSpPr>
            <a:spLocks noGrp="1"/>
          </p:cNvSpPr>
          <p:nvPr>
            <p:ph type="ftr" sz="quarter" idx="10"/>
          </p:nvPr>
        </p:nvSpPr>
        <p:spPr/>
        <p:txBody>
          <a:bodyPr/>
          <a:lstStyle/>
          <a:p>
            <a:pPr marL="583276"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5/1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6883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2016 2:49 PM</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40254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B1D0724-9343-4524-9E0E-11976C0D8AD2}" type="slidenum">
              <a:rPr lang="en-GB" smtClean="0">
                <a:solidFill>
                  <a:prstClr val="black"/>
                </a:solidFill>
              </a:rPr>
              <a:pPr/>
              <a:t>18</a:t>
            </a:fld>
            <a:endParaRPr lang="en-GB">
              <a:solidFill>
                <a:prstClr val="black"/>
              </a:solidFill>
            </a:endParaRPr>
          </a:p>
        </p:txBody>
      </p:sp>
    </p:spTree>
    <p:extLst>
      <p:ext uri="{BB962C8B-B14F-4D97-AF65-F5344CB8AC3E}">
        <p14:creationId xmlns:p14="http://schemas.microsoft.com/office/powerpoint/2010/main" val="16693370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smtClean="0"/>
              <a:t>Putty</a:t>
            </a:r>
          </a:p>
          <a:p>
            <a:r>
              <a:rPr lang="en-US" altLang="ko-KR" dirty="0" err="1" smtClean="0"/>
              <a:t>Sudo</a:t>
            </a:r>
            <a:r>
              <a:rPr lang="en-US" altLang="ko-KR" dirty="0" smtClean="0"/>
              <a:t> apt-get</a:t>
            </a:r>
            <a:r>
              <a:rPr lang="en-US" altLang="ko-KR" baseline="0" dirty="0" smtClean="0"/>
              <a:t> install </a:t>
            </a:r>
            <a:r>
              <a:rPr lang="en-US" altLang="ko-KR" baseline="0" dirty="0" err="1" smtClean="0"/>
              <a:t>nodejs</a:t>
            </a:r>
            <a:endParaRPr lang="ko-KR" altLang="en-US" dirty="0"/>
          </a:p>
        </p:txBody>
      </p:sp>
      <p:sp>
        <p:nvSpPr>
          <p:cNvPr id="4" name="슬라이드 번호 개체 틀 3"/>
          <p:cNvSpPr>
            <a:spLocks noGrp="1"/>
          </p:cNvSpPr>
          <p:nvPr>
            <p:ph type="sldNum" sz="quarter" idx="10"/>
          </p:nvPr>
        </p:nvSpPr>
        <p:spPr/>
        <p:txBody>
          <a:bodyPr/>
          <a:lstStyle/>
          <a:p>
            <a:fld id="{2CCF41AF-D08C-404F-9486-E4523F25AFF5}" type="slidenum">
              <a:rPr lang="ko-KR" altLang="en-US" smtClean="0"/>
              <a:t>19</a:t>
            </a:fld>
            <a:endParaRPr lang="ko-KR" altLang="en-US"/>
          </a:p>
        </p:txBody>
      </p:sp>
    </p:spTree>
    <p:extLst>
      <p:ext uri="{BB962C8B-B14F-4D97-AF65-F5344CB8AC3E}">
        <p14:creationId xmlns:p14="http://schemas.microsoft.com/office/powerpoint/2010/main" val="10137878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2383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52981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smtClean="0"/>
              <a:t>Putty</a:t>
            </a:r>
          </a:p>
          <a:p>
            <a:r>
              <a:rPr lang="en-US" altLang="ko-KR" dirty="0" err="1" smtClean="0"/>
              <a:t>Sudo</a:t>
            </a:r>
            <a:r>
              <a:rPr lang="en-US" altLang="ko-KR" dirty="0" smtClean="0"/>
              <a:t> apt-get</a:t>
            </a:r>
            <a:r>
              <a:rPr lang="en-US" altLang="ko-KR" baseline="0" dirty="0" smtClean="0"/>
              <a:t> install </a:t>
            </a:r>
            <a:r>
              <a:rPr lang="en-US" altLang="ko-KR" baseline="0" dirty="0" err="1" smtClean="0"/>
              <a:t>nodejs</a:t>
            </a:r>
            <a:endParaRPr lang="ko-KR" altLang="en-US" dirty="0"/>
          </a:p>
        </p:txBody>
      </p:sp>
      <p:sp>
        <p:nvSpPr>
          <p:cNvPr id="4" name="슬라이드 번호 개체 틀 3"/>
          <p:cNvSpPr>
            <a:spLocks noGrp="1"/>
          </p:cNvSpPr>
          <p:nvPr>
            <p:ph type="sldNum" sz="quarter" idx="10"/>
          </p:nvPr>
        </p:nvSpPr>
        <p:spPr/>
        <p:txBody>
          <a:bodyPr/>
          <a:lstStyle/>
          <a:p>
            <a:fld id="{2CCF41AF-D08C-404F-9486-E4523F25AFF5}" type="slidenum">
              <a:rPr lang="ko-KR" altLang="en-US" smtClean="0"/>
              <a:t>23</a:t>
            </a:fld>
            <a:endParaRPr lang="ko-KR" altLang="en-US"/>
          </a:p>
        </p:txBody>
      </p:sp>
    </p:spTree>
    <p:extLst>
      <p:ext uri="{BB962C8B-B14F-4D97-AF65-F5344CB8AC3E}">
        <p14:creationId xmlns:p14="http://schemas.microsoft.com/office/powerpoint/2010/main" val="2713728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2482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N –Screen </a:t>
            </a:r>
            <a:r>
              <a:rPr lang="ko-KR" altLang="en-US" dirty="0" smtClean="0"/>
              <a:t>이란</a:t>
            </a:r>
            <a:r>
              <a:rPr lang="en-US" dirty="0" smtClean="0"/>
              <a:t> </a:t>
            </a:r>
            <a:r>
              <a:rPr lang="ko-KR" altLang="en-US" dirty="0" smtClean="0"/>
              <a:t>단순히 화면 수를 늘려 나가는 것이 아니다</a:t>
            </a:r>
            <a:r>
              <a:rPr lang="en-US" altLang="ko-KR" dirty="0" smtClean="0"/>
              <a:t>. </a:t>
            </a:r>
          </a:p>
          <a:p>
            <a:r>
              <a:rPr lang="ko-KR" altLang="en-US" smtClean="0"/>
              <a:t>각각의 디바이스의 </a:t>
            </a:r>
            <a:endParaRPr lang="en-US"/>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3698B483-6D03-49BA-94F3-1E74814ACF66}" type="slidenum">
              <a:rPr kumimoji="0" lang="ko-KR" altLang="en-US" sz="1200" b="0" i="0" u="none" strike="noStrike" kern="1200" cap="none" spc="0" normalizeH="0" baseline="0" noProof="0" smtClean="0">
                <a:ln>
                  <a:noFill/>
                </a:ln>
                <a:solidFill>
                  <a:prstClr val="black"/>
                </a:solidFill>
                <a:effectLst/>
                <a:uLnTx/>
                <a:uFillTx/>
                <a:latin typeface="Segoe UI" pitchFamily="34" charset="0"/>
                <a:ea typeface="맑은 고딕" panose="020B0503020000020004" pitchFamily="50" charset="-127"/>
                <a:cs typeface="+mn-cs"/>
              </a:rPr>
              <a:pPr marL="0" marR="0" lvl="0" indent="0" algn="r" defTabSz="1218987" rtl="0" eaLnBrk="1" fontAlgn="auto" latinLnBrk="0" hangingPunct="1">
                <a:lnSpc>
                  <a:spcPct val="100000"/>
                </a:lnSpc>
                <a:spcBef>
                  <a:spcPts val="0"/>
                </a:spcBef>
                <a:spcAft>
                  <a:spcPts val="0"/>
                </a:spcAft>
                <a:buClrTx/>
                <a:buSzTx/>
                <a:buFontTx/>
                <a:buNone/>
                <a:tabLst/>
                <a:defRPr/>
              </a:pPr>
              <a:t>6</a:t>
            </a:fld>
            <a:endParaRPr kumimoji="0" lang="ko-KR" altLang="en-US" sz="1200" b="0" i="0" u="none" strike="noStrike" kern="1200" cap="none" spc="0" normalizeH="0" baseline="0" noProof="0">
              <a:ln>
                <a:noFill/>
              </a:ln>
              <a:solidFill>
                <a:prstClr val="black"/>
              </a:solidFill>
              <a:effectLst/>
              <a:uLnTx/>
              <a:uFillTx/>
              <a:latin typeface="Segoe UI" pitchFamily="34" charset="0"/>
              <a:ea typeface="맑은 고딕" panose="020B0503020000020004" pitchFamily="50" charset="-127"/>
              <a:cs typeface="+mn-cs"/>
            </a:endParaRPr>
          </a:p>
        </p:txBody>
      </p:sp>
    </p:spTree>
    <p:extLst>
      <p:ext uri="{BB962C8B-B14F-4D97-AF65-F5344CB8AC3E}">
        <p14:creationId xmlns:p14="http://schemas.microsoft.com/office/powerpoint/2010/main" val="40979044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smtClean="0"/>
              <a:t>Putty</a:t>
            </a:r>
          </a:p>
          <a:p>
            <a:r>
              <a:rPr lang="en-US" altLang="ko-KR" dirty="0" err="1" smtClean="0"/>
              <a:t>Sudo</a:t>
            </a:r>
            <a:r>
              <a:rPr lang="en-US" altLang="ko-KR" dirty="0" smtClean="0"/>
              <a:t> apt-get</a:t>
            </a:r>
            <a:r>
              <a:rPr lang="en-US" altLang="ko-KR" baseline="0" dirty="0" smtClean="0"/>
              <a:t> install </a:t>
            </a:r>
            <a:r>
              <a:rPr lang="en-US" altLang="ko-KR" baseline="0" dirty="0" err="1" smtClean="0"/>
              <a:t>nodejs</a:t>
            </a:r>
            <a:endParaRPr lang="ko-KR" altLang="en-US" dirty="0"/>
          </a:p>
        </p:txBody>
      </p:sp>
      <p:sp>
        <p:nvSpPr>
          <p:cNvPr id="4" name="슬라이드 번호 개체 틀 3"/>
          <p:cNvSpPr>
            <a:spLocks noGrp="1"/>
          </p:cNvSpPr>
          <p:nvPr>
            <p:ph type="sldNum" sz="quarter" idx="10"/>
          </p:nvPr>
        </p:nvSpPr>
        <p:spPr/>
        <p:txBody>
          <a:bodyPr/>
          <a:lstStyle/>
          <a:p>
            <a:fld id="{2CCF41AF-D08C-404F-9486-E4523F25AFF5}" type="slidenum">
              <a:rPr lang="ko-KR" altLang="en-US" smtClean="0"/>
              <a:t>25</a:t>
            </a:fld>
            <a:endParaRPr lang="ko-KR" altLang="en-US"/>
          </a:p>
        </p:txBody>
      </p:sp>
    </p:spTree>
    <p:extLst>
      <p:ext uri="{BB962C8B-B14F-4D97-AF65-F5344CB8AC3E}">
        <p14:creationId xmlns:p14="http://schemas.microsoft.com/office/powerpoint/2010/main" val="34324339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smtClean="0"/>
              <a:t>Putty</a:t>
            </a:r>
          </a:p>
          <a:p>
            <a:r>
              <a:rPr lang="en-US" altLang="ko-KR" dirty="0" err="1" smtClean="0"/>
              <a:t>Sudo</a:t>
            </a:r>
            <a:r>
              <a:rPr lang="en-US" altLang="ko-KR" dirty="0" smtClean="0"/>
              <a:t> apt-get</a:t>
            </a:r>
            <a:r>
              <a:rPr lang="en-US" altLang="ko-KR" baseline="0" dirty="0" smtClean="0"/>
              <a:t> install </a:t>
            </a:r>
            <a:r>
              <a:rPr lang="en-US" altLang="ko-KR" baseline="0" dirty="0" err="1" smtClean="0"/>
              <a:t>nodejs</a:t>
            </a:r>
            <a:endParaRPr lang="ko-KR" altLang="en-US" dirty="0"/>
          </a:p>
        </p:txBody>
      </p:sp>
      <p:sp>
        <p:nvSpPr>
          <p:cNvPr id="4" name="슬라이드 번호 개체 틀 3"/>
          <p:cNvSpPr>
            <a:spLocks noGrp="1"/>
          </p:cNvSpPr>
          <p:nvPr>
            <p:ph type="sldNum" sz="quarter" idx="10"/>
          </p:nvPr>
        </p:nvSpPr>
        <p:spPr/>
        <p:txBody>
          <a:bodyPr/>
          <a:lstStyle/>
          <a:p>
            <a:fld id="{2CCF41AF-D08C-404F-9486-E4523F25AFF5}" type="slidenum">
              <a:rPr lang="ko-KR" altLang="en-US" smtClean="0"/>
              <a:t>27</a:t>
            </a:fld>
            <a:endParaRPr lang="ko-KR" altLang="en-US"/>
          </a:p>
        </p:txBody>
      </p:sp>
    </p:spTree>
    <p:extLst>
      <p:ext uri="{BB962C8B-B14F-4D97-AF65-F5344CB8AC3E}">
        <p14:creationId xmlns:p14="http://schemas.microsoft.com/office/powerpoint/2010/main" val="1455657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smtClean="0"/>
              <a:t>Putty</a:t>
            </a:r>
          </a:p>
          <a:p>
            <a:r>
              <a:rPr lang="en-US" altLang="ko-KR" dirty="0" err="1" smtClean="0"/>
              <a:t>Sudo</a:t>
            </a:r>
            <a:r>
              <a:rPr lang="en-US" altLang="ko-KR" dirty="0" smtClean="0"/>
              <a:t> apt-get</a:t>
            </a:r>
            <a:r>
              <a:rPr lang="en-US" altLang="ko-KR" baseline="0" dirty="0" smtClean="0"/>
              <a:t> install </a:t>
            </a:r>
            <a:r>
              <a:rPr lang="en-US" altLang="ko-KR" baseline="0" dirty="0" err="1" smtClean="0"/>
              <a:t>nodejs</a:t>
            </a:r>
            <a:endParaRPr lang="ko-KR" altLang="en-US" dirty="0"/>
          </a:p>
        </p:txBody>
      </p:sp>
      <p:sp>
        <p:nvSpPr>
          <p:cNvPr id="4" name="슬라이드 번호 개체 틀 3"/>
          <p:cNvSpPr>
            <a:spLocks noGrp="1"/>
          </p:cNvSpPr>
          <p:nvPr>
            <p:ph type="sldNum" sz="quarter" idx="10"/>
          </p:nvPr>
        </p:nvSpPr>
        <p:spPr/>
        <p:txBody>
          <a:bodyPr/>
          <a:lstStyle/>
          <a:p>
            <a:fld id="{2CCF41AF-D08C-404F-9486-E4523F25AFF5}" type="slidenum">
              <a:rPr lang="ko-KR" altLang="en-US" smtClean="0"/>
              <a:t>29</a:t>
            </a:fld>
            <a:endParaRPr lang="ko-KR" altLang="en-US"/>
          </a:p>
        </p:txBody>
      </p:sp>
    </p:spTree>
    <p:extLst>
      <p:ext uri="{BB962C8B-B14F-4D97-AF65-F5344CB8AC3E}">
        <p14:creationId xmlns:p14="http://schemas.microsoft.com/office/powerpoint/2010/main" val="30830698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6188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19994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9B03225A-39E8-4656-A1C7-4E4AD68BF39C}"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40</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1353532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N –Screen </a:t>
            </a:r>
            <a:r>
              <a:rPr lang="ko-KR" altLang="en-US" dirty="0" smtClean="0"/>
              <a:t>이란</a:t>
            </a:r>
            <a:r>
              <a:rPr lang="en-US" dirty="0" smtClean="0"/>
              <a:t> </a:t>
            </a:r>
            <a:r>
              <a:rPr lang="ko-KR" altLang="en-US" dirty="0" smtClean="0"/>
              <a:t>단순히 화면 수를 늘려 나가는 것이 아니다</a:t>
            </a:r>
            <a:r>
              <a:rPr lang="en-US" altLang="ko-KR" dirty="0" smtClean="0"/>
              <a:t>. </a:t>
            </a:r>
          </a:p>
          <a:p>
            <a:r>
              <a:rPr lang="ko-KR" altLang="en-US" smtClean="0"/>
              <a:t>각각의 디바이스의 </a:t>
            </a:r>
            <a:endParaRPr lang="en-US"/>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3698B483-6D03-49BA-94F3-1E74814ACF66}" type="slidenum">
              <a:rPr kumimoji="0" lang="ko-KR" altLang="en-US" sz="1200" b="0" i="0" u="none" strike="noStrike" kern="1200" cap="none" spc="0" normalizeH="0" baseline="0" noProof="0" smtClean="0">
                <a:ln>
                  <a:noFill/>
                </a:ln>
                <a:solidFill>
                  <a:prstClr val="black"/>
                </a:solidFill>
                <a:effectLst/>
                <a:uLnTx/>
                <a:uFillTx/>
                <a:latin typeface="Segoe UI" pitchFamily="34" charset="0"/>
                <a:ea typeface="맑은 고딕" panose="020B0503020000020004" pitchFamily="50" charset="-127"/>
                <a:cs typeface="+mn-cs"/>
              </a:rPr>
              <a:pPr marL="0" marR="0" lvl="0" indent="0" algn="r" defTabSz="1218987" rtl="0" eaLnBrk="1" fontAlgn="auto" latinLnBrk="0" hangingPunct="1">
                <a:lnSpc>
                  <a:spcPct val="100000"/>
                </a:lnSpc>
                <a:spcBef>
                  <a:spcPts val="0"/>
                </a:spcBef>
                <a:spcAft>
                  <a:spcPts val="0"/>
                </a:spcAft>
                <a:buClrTx/>
                <a:buSzTx/>
                <a:buFontTx/>
                <a:buNone/>
                <a:tabLst/>
                <a:defRPr/>
              </a:pPr>
              <a:t>7</a:t>
            </a:fld>
            <a:endParaRPr kumimoji="0" lang="ko-KR" altLang="en-US" sz="1200" b="0" i="0" u="none" strike="noStrike" kern="1200" cap="none" spc="0" normalizeH="0" baseline="0" noProof="0">
              <a:ln>
                <a:noFill/>
              </a:ln>
              <a:solidFill>
                <a:prstClr val="black"/>
              </a:solidFill>
              <a:effectLst/>
              <a:uLnTx/>
              <a:uFillTx/>
              <a:latin typeface="Segoe UI" pitchFamily="34" charset="0"/>
              <a:ea typeface="맑은 고딕" panose="020B0503020000020004" pitchFamily="50" charset="-127"/>
              <a:cs typeface="+mn-cs"/>
            </a:endParaRPr>
          </a:p>
        </p:txBody>
      </p:sp>
    </p:spTree>
    <p:extLst>
      <p:ext uri="{BB962C8B-B14F-4D97-AF65-F5344CB8AC3E}">
        <p14:creationId xmlns:p14="http://schemas.microsoft.com/office/powerpoint/2010/main" val="3997568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N –Screen </a:t>
            </a:r>
            <a:r>
              <a:rPr lang="ko-KR" altLang="en-US" dirty="0" smtClean="0"/>
              <a:t>이란</a:t>
            </a:r>
            <a:r>
              <a:rPr lang="en-US" dirty="0" smtClean="0"/>
              <a:t> </a:t>
            </a:r>
            <a:r>
              <a:rPr lang="ko-KR" altLang="en-US" dirty="0" smtClean="0"/>
              <a:t>단순히 화면 수를 늘려 나가는 것이 아니다</a:t>
            </a:r>
            <a:r>
              <a:rPr lang="en-US" altLang="ko-KR" dirty="0" smtClean="0"/>
              <a:t>. </a:t>
            </a:r>
          </a:p>
          <a:p>
            <a:r>
              <a:rPr lang="ko-KR" altLang="en-US" smtClean="0"/>
              <a:t>각각의 디바이스의 </a:t>
            </a:r>
            <a:endParaRPr lang="en-US"/>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3698B483-6D03-49BA-94F3-1E74814ACF66}" type="slidenum">
              <a:rPr kumimoji="0" lang="ko-KR" altLang="en-US" sz="1200" b="0" i="0" u="none" strike="noStrike" kern="1200" cap="none" spc="0" normalizeH="0" baseline="0" noProof="0" smtClean="0">
                <a:ln>
                  <a:noFill/>
                </a:ln>
                <a:solidFill>
                  <a:prstClr val="black"/>
                </a:solidFill>
                <a:effectLst/>
                <a:uLnTx/>
                <a:uFillTx/>
                <a:latin typeface="Segoe UI" pitchFamily="34" charset="0"/>
                <a:ea typeface="맑은 고딕" panose="020B0503020000020004" pitchFamily="50" charset="-127"/>
                <a:cs typeface="+mn-cs"/>
              </a:rPr>
              <a:pPr marL="0" marR="0" lvl="0" indent="0" algn="r" defTabSz="1218987" rtl="0" eaLnBrk="1" fontAlgn="auto" latinLnBrk="0" hangingPunct="1">
                <a:lnSpc>
                  <a:spcPct val="100000"/>
                </a:lnSpc>
                <a:spcBef>
                  <a:spcPts val="0"/>
                </a:spcBef>
                <a:spcAft>
                  <a:spcPts val="0"/>
                </a:spcAft>
                <a:buClrTx/>
                <a:buSzTx/>
                <a:buFontTx/>
                <a:buNone/>
                <a:tabLst/>
                <a:defRPr/>
              </a:pPr>
              <a:t>8</a:t>
            </a:fld>
            <a:endParaRPr kumimoji="0" lang="ko-KR" altLang="en-US" sz="1200" b="0" i="0" u="none" strike="noStrike" kern="1200" cap="none" spc="0" normalizeH="0" baseline="0" noProof="0">
              <a:ln>
                <a:noFill/>
              </a:ln>
              <a:solidFill>
                <a:prstClr val="black"/>
              </a:solidFill>
              <a:effectLst/>
              <a:uLnTx/>
              <a:uFillTx/>
              <a:latin typeface="Segoe UI" pitchFamily="34" charset="0"/>
              <a:ea typeface="맑은 고딕" panose="020B0503020000020004" pitchFamily="50" charset="-127"/>
              <a:cs typeface="+mn-cs"/>
            </a:endParaRPr>
          </a:p>
        </p:txBody>
      </p:sp>
    </p:spTree>
    <p:extLst>
      <p:ext uri="{BB962C8B-B14F-4D97-AF65-F5344CB8AC3E}">
        <p14:creationId xmlns:p14="http://schemas.microsoft.com/office/powerpoint/2010/main" val="2020059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6 2: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9598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10/2016 2:49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11008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맑은 고딕"/>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맑은 고딕"/>
              <a:ea typeface="+mn-ea"/>
              <a:cs typeface="+mn-cs"/>
            </a:endParaRPr>
          </a:p>
        </p:txBody>
      </p:sp>
    </p:spTree>
    <p:extLst>
      <p:ext uri="{BB962C8B-B14F-4D97-AF65-F5344CB8AC3E}">
        <p14:creationId xmlns:p14="http://schemas.microsoft.com/office/powerpoint/2010/main" val="1070219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ko-KR" altLang="en-US" sz="1000" kern="1200" dirty="0" smtClean="0">
                <a:solidFill>
                  <a:schemeClr val="tx1"/>
                </a:solidFill>
                <a:effectLst/>
                <a:latin typeface="Segoe UI Light" pitchFamily="34" charset="0"/>
                <a:ea typeface="+mn-ea"/>
                <a:cs typeface="+mn-cs"/>
              </a:rPr>
              <a:t>규모의 경제</a:t>
            </a:r>
            <a:endParaRPr lang="en-US" altLang="ko-KR" sz="1000" kern="1200" dirty="0" smtClean="0">
              <a:solidFill>
                <a:schemeClr val="tx1"/>
              </a:solidFill>
              <a:effectLst/>
              <a:latin typeface="Segoe UI Light" pitchFamily="34" charset="0"/>
              <a:ea typeface="+mn-ea"/>
              <a:cs typeface="+mn-cs"/>
            </a:endParaRPr>
          </a:p>
          <a:p>
            <a:r>
              <a:rPr lang="ko-KR" altLang="en-US" sz="1000" kern="1200" dirty="0" smtClean="0">
                <a:solidFill>
                  <a:schemeClr val="tx1"/>
                </a:solidFill>
                <a:effectLst/>
                <a:latin typeface="Segoe UI Light" pitchFamily="34" charset="0"/>
                <a:ea typeface="+mn-ea"/>
                <a:cs typeface="+mn-cs"/>
              </a:rPr>
              <a:t>소매가격과 도매가격의 차이</a:t>
            </a:r>
            <a:r>
              <a:rPr lang="en-US" altLang="ko-KR" sz="1000" kern="1200" dirty="0" smtClean="0">
                <a:solidFill>
                  <a:schemeClr val="tx1"/>
                </a:solidFill>
                <a:effectLst/>
                <a:latin typeface="Segoe UI Light" pitchFamily="34" charset="0"/>
                <a:ea typeface="+mn-ea"/>
                <a:cs typeface="+mn-cs"/>
              </a:rPr>
              <a:t>.  </a:t>
            </a:r>
            <a:r>
              <a:rPr lang="ko-KR" altLang="en-US" sz="1000" kern="1200" dirty="0" smtClean="0">
                <a:solidFill>
                  <a:schemeClr val="tx1"/>
                </a:solidFill>
                <a:effectLst/>
                <a:latin typeface="Segoe UI Light" pitchFamily="34" charset="0"/>
                <a:ea typeface="+mn-ea"/>
                <a:cs typeface="+mn-cs"/>
              </a:rPr>
              <a:t>볼륨비즈니스를 통해 경쟁력있는 비용으로 서비스를 제공할 수 있는지</a:t>
            </a:r>
            <a:r>
              <a:rPr lang="en-US" altLang="ko-KR" sz="1000" kern="1200" dirty="0" smtClean="0">
                <a:solidFill>
                  <a:schemeClr val="tx1"/>
                </a:solidFill>
                <a:effectLst/>
                <a:latin typeface="Segoe UI Light" pitchFamily="34" charset="0"/>
                <a:ea typeface="+mn-ea"/>
                <a:cs typeface="+mn-cs"/>
              </a:rPr>
              <a:t>. </a:t>
            </a:r>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50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6"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3276"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6C334CA4-0776-4EDD-A4B7-C3035D83D48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5/1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1951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ko-KR" altLang="en-US" sz="1000" kern="1200" dirty="0" smtClean="0">
                <a:solidFill>
                  <a:schemeClr val="tx1"/>
                </a:solidFill>
                <a:effectLst/>
                <a:latin typeface="Segoe UI Light" pitchFamily="34" charset="0"/>
                <a:ea typeface="+mn-ea"/>
                <a:cs typeface="+mn-cs"/>
              </a:rPr>
              <a:t>규모의 경제</a:t>
            </a:r>
            <a:endParaRPr lang="en-US" altLang="ko-KR" sz="1000" kern="1200" dirty="0" smtClean="0">
              <a:solidFill>
                <a:schemeClr val="tx1"/>
              </a:solidFill>
              <a:effectLst/>
              <a:latin typeface="Segoe UI Light" pitchFamily="34" charset="0"/>
              <a:ea typeface="+mn-ea"/>
              <a:cs typeface="+mn-cs"/>
            </a:endParaRPr>
          </a:p>
          <a:p>
            <a:r>
              <a:rPr lang="ko-KR" altLang="en-US" sz="1000" kern="1200" dirty="0" smtClean="0">
                <a:solidFill>
                  <a:schemeClr val="tx1"/>
                </a:solidFill>
                <a:effectLst/>
                <a:latin typeface="Segoe UI Light" pitchFamily="34" charset="0"/>
                <a:ea typeface="+mn-ea"/>
                <a:cs typeface="+mn-cs"/>
              </a:rPr>
              <a:t>소매가격과 도매가격의 차이</a:t>
            </a:r>
            <a:r>
              <a:rPr lang="en-US" altLang="ko-KR" sz="1000" kern="1200" dirty="0" smtClean="0">
                <a:solidFill>
                  <a:schemeClr val="tx1"/>
                </a:solidFill>
                <a:effectLst/>
                <a:latin typeface="Segoe UI Light" pitchFamily="34" charset="0"/>
                <a:ea typeface="+mn-ea"/>
                <a:cs typeface="+mn-cs"/>
              </a:rPr>
              <a:t>.  </a:t>
            </a:r>
            <a:r>
              <a:rPr lang="ko-KR" altLang="en-US" sz="1000" kern="1200" dirty="0" smtClean="0">
                <a:solidFill>
                  <a:schemeClr val="tx1"/>
                </a:solidFill>
                <a:effectLst/>
                <a:latin typeface="Segoe UI Light" pitchFamily="34" charset="0"/>
                <a:ea typeface="+mn-ea"/>
                <a:cs typeface="+mn-cs"/>
              </a:rPr>
              <a:t>볼륨비즈니스를 통해 경쟁력있는 비용으로 서비스를 제공할 수 있는지</a:t>
            </a:r>
            <a:r>
              <a:rPr lang="en-US" altLang="ko-KR" sz="1000" kern="1200" dirty="0" smtClean="0">
                <a:solidFill>
                  <a:schemeClr val="tx1"/>
                </a:solidFill>
                <a:effectLst/>
                <a:latin typeface="Segoe UI Light" pitchFamily="34" charset="0"/>
                <a:ea typeface="+mn-ea"/>
                <a:cs typeface="+mn-cs"/>
              </a:rPr>
              <a:t>. </a:t>
            </a:r>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50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6"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3276"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6C334CA4-0776-4EDD-A4B7-C3035D83D48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5/1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33892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7.xml"/><Relationship Id="rId4" Type="http://schemas.openxmlformats.org/officeDocument/2006/relationships/image" Target="../media/image29.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Master" Target="../slideMasters/slideMaster8.xml"/><Relationship Id="rId6" Type="http://schemas.openxmlformats.org/officeDocument/2006/relationships/image" Target="../media/image34.png"/><Relationship Id="rId11" Type="http://schemas.openxmlformats.org/officeDocument/2006/relationships/hyperlink" Target="http://nodejs.org/logos/nodejs-light.eps" TargetMode="External"/><Relationship Id="rId5" Type="http://schemas.microsoft.com/office/2007/relationships/hdphoto" Target="../media/hdphoto1.wdp"/><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image" Target="../media/image41.png"/></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4.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image" Target="../media/image42.png"/><Relationship Id="rId1" Type="http://schemas.openxmlformats.org/officeDocument/2006/relationships/slideMaster" Target="../slideMasters/slideMaster8.xml"/><Relationship Id="rId6" Type="http://schemas.openxmlformats.org/officeDocument/2006/relationships/image" Target="../media/image34.png"/><Relationship Id="rId11" Type="http://schemas.openxmlformats.org/officeDocument/2006/relationships/hyperlink" Target="http://nodejs.org/logos/nodejs-light.eps" TargetMode="External"/><Relationship Id="rId5" Type="http://schemas.microsoft.com/office/2007/relationships/hdphoto" Target="../media/hdphoto1.wdp"/><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43.png"/><Relationship Id="rId14" Type="http://schemas.openxmlformats.org/officeDocument/2006/relationships/image" Target="../media/image41.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g"/><Relationship Id="rId1" Type="http://schemas.openxmlformats.org/officeDocument/2006/relationships/slideMaster" Target="../slideMasters/slideMaster9.xml"/><Relationship Id="rId4" Type="http://schemas.openxmlformats.org/officeDocument/2006/relationships/image" Target="../media/image49.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jpg"/><Relationship Id="rId1" Type="http://schemas.openxmlformats.org/officeDocument/2006/relationships/slideMaster" Target="../slideMasters/slideMaster9.xml"/><Relationship Id="rId4" Type="http://schemas.openxmlformats.org/officeDocument/2006/relationships/image" Target="../media/image49.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3.jpg"/><Relationship Id="rId1" Type="http://schemas.openxmlformats.org/officeDocument/2006/relationships/slideMaster" Target="../slideMasters/slideMaster9.xml"/><Relationship Id="rId4" Type="http://schemas.openxmlformats.org/officeDocument/2006/relationships/image" Target="../media/image54.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5.jpg"/><Relationship Id="rId1" Type="http://schemas.openxmlformats.org/officeDocument/2006/relationships/slideMaster" Target="../slideMasters/slideMaster9.xml"/><Relationship Id="rId4" Type="http://schemas.openxmlformats.org/officeDocument/2006/relationships/image" Target="../media/image49.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6.jp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7.jp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8.jp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jp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9.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5.jp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6.jp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7.jp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34.png"/><Relationship Id="rId11" Type="http://schemas.openxmlformats.org/officeDocument/2006/relationships/hyperlink" Target="http://nodejs.org/logos/nodejs-light.eps" TargetMode="External"/><Relationship Id="rId5" Type="http://schemas.microsoft.com/office/2007/relationships/hdphoto" Target="../media/hdphoto1.wdp"/><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image" Target="../media/image41.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6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1.emf"/><Relationship Id="rId5" Type="http://schemas.openxmlformats.org/officeDocument/2006/relationships/oleObject" Target="../embeddings/oleObject3.bin"/><Relationship Id="rId4" Type="http://schemas.openxmlformats.org/officeDocument/2006/relationships/image" Target="../media/image62.png"/></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6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1.emf"/><Relationship Id="rId5" Type="http://schemas.openxmlformats.org/officeDocument/2006/relationships/oleObject" Target="../embeddings/oleObject4.bin"/><Relationship Id="rId4" Type="http://schemas.openxmlformats.org/officeDocument/2006/relationships/image" Target="../media/image64.png"/></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6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1.emf"/><Relationship Id="rId5" Type="http://schemas.openxmlformats.org/officeDocument/2006/relationships/oleObject" Target="../embeddings/oleObject5.bin"/><Relationship Id="rId4" Type="http://schemas.openxmlformats.org/officeDocument/2006/relationships/image" Target="../media/image65.pn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6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1.emf"/><Relationship Id="rId5" Type="http://schemas.openxmlformats.org/officeDocument/2006/relationships/oleObject" Target="../embeddings/oleObject6.bin"/><Relationship Id="rId4" Type="http://schemas.openxmlformats.org/officeDocument/2006/relationships/image" Target="../media/image62.png"/></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63.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1.emf"/><Relationship Id="rId5" Type="http://schemas.openxmlformats.org/officeDocument/2006/relationships/oleObject" Target="../embeddings/oleObject7.bin"/><Relationship Id="rId4" Type="http://schemas.openxmlformats.org/officeDocument/2006/relationships/image" Target="../media/image66.png"/></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63.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1.emf"/><Relationship Id="rId5" Type="http://schemas.openxmlformats.org/officeDocument/2006/relationships/oleObject" Target="../embeddings/oleObject8.bin"/><Relationship Id="rId4" Type="http://schemas.openxmlformats.org/officeDocument/2006/relationships/image" Target="../media/image67.png"/></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63.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1.emf"/><Relationship Id="rId5" Type="http://schemas.openxmlformats.org/officeDocument/2006/relationships/oleObject" Target="../embeddings/oleObject9.bin"/><Relationship Id="rId4" Type="http://schemas.openxmlformats.org/officeDocument/2006/relationships/image" Target="../media/image68.png"/></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6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1.emf"/><Relationship Id="rId5" Type="http://schemas.openxmlformats.org/officeDocument/2006/relationships/oleObject" Target="../embeddings/oleObject10.bin"/><Relationship Id="rId4" Type="http://schemas.openxmlformats.org/officeDocument/2006/relationships/image" Target="../media/image69.png"/></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12.bin"/><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61.emf"/><Relationship Id="rId5" Type="http://schemas.openxmlformats.org/officeDocument/2006/relationships/oleObject" Target="../embeddings/oleObject11.bin"/><Relationship Id="rId4"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Master" Target="../slideMasters/slideMaster11.xml"/><Relationship Id="rId5" Type="http://schemas.openxmlformats.org/officeDocument/2006/relationships/hyperlink" Target="http://msdevcon.ru/" TargetMode="External"/><Relationship Id="rId4" Type="http://schemas.openxmlformats.org/officeDocument/2006/relationships/image" Target="../media/image72.png"/></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image" Target="../media/image79.emf"/><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g"/><Relationship Id="rId1" Type="http://schemas.openxmlformats.org/officeDocument/2006/relationships/slideMaster" Target="../slideMasters/slideMaster13.xml"/><Relationship Id="rId4" Type="http://schemas.microsoft.com/office/2007/relationships/hdphoto" Target="../media/hdphoto3.wdp"/></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1.png"/><Relationship Id="rId1" Type="http://schemas.openxmlformats.org/officeDocument/2006/relationships/slideMaster" Target="../slideMasters/slideMaster13.xml"/><Relationship Id="rId4" Type="http://schemas.microsoft.com/office/2007/relationships/hdphoto" Target="../media/hdphoto4.wdp"/></Relationships>
</file>

<file path=ppt/slideLayouts/_rels/slideLayout28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4.png"/><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4.png"/><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4.pn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4.pn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4.pn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g"/><Relationship Id="rId1" Type="http://schemas.openxmlformats.org/officeDocument/2006/relationships/slideMaster" Target="../slideMasters/slideMaster13.xml"/><Relationship Id="rId4" Type="http://schemas.microsoft.com/office/2007/relationships/hdphoto" Target="../media/hdphoto3.wdp"/></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g"/><Relationship Id="rId1" Type="http://schemas.openxmlformats.org/officeDocument/2006/relationships/slideMaster" Target="../slideMasters/slideMaster13.xml"/><Relationship Id="rId6" Type="http://schemas.microsoft.com/office/2007/relationships/hdphoto" Target="../media/hdphoto3.wdp"/><Relationship Id="rId5" Type="http://schemas.openxmlformats.org/officeDocument/2006/relationships/image" Target="../media/image83.png"/><Relationship Id="rId4" Type="http://schemas.microsoft.com/office/2007/relationships/hdphoto" Target="../media/hdphoto5.wdp"/></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14.xml"/><Relationship Id="rId4" Type="http://schemas.openxmlformats.org/officeDocument/2006/relationships/image" Target="../media/image29.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Master" Target="../slideMasters/slideMaster14.xml"/><Relationship Id="rId4" Type="http://schemas.microsoft.com/office/2007/relationships/hdphoto" Target="../media/hdphoto2.wdp"/></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411569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2542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stretch>
            <a:fillRect/>
          </a:stretch>
        </p:blipFill>
        <p:spPr>
          <a:xfrm>
            <a:off x="6091086" y="470067"/>
            <a:ext cx="5392953" cy="5684665"/>
          </a:xfrm>
          <a:prstGeom prst="rect">
            <a:avLst/>
          </a:prstGeom>
        </p:spPr>
      </p:pic>
    </p:spTree>
    <p:extLst>
      <p:ext uri="{BB962C8B-B14F-4D97-AF65-F5344CB8AC3E}">
        <p14:creationId xmlns:p14="http://schemas.microsoft.com/office/powerpoint/2010/main" val="18830290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6185641" y="1078294"/>
            <a:ext cx="5334758" cy="5034317"/>
          </a:xfrm>
          <a:prstGeom prst="rect">
            <a:avLst/>
          </a:prstGeom>
        </p:spPr>
      </p:pic>
    </p:spTree>
    <p:extLst>
      <p:ext uri="{BB962C8B-B14F-4D97-AF65-F5344CB8AC3E}">
        <p14:creationId xmlns:p14="http://schemas.microsoft.com/office/powerpoint/2010/main" val="1369128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stretch>
            <a:fillRect/>
          </a:stretch>
        </p:blipFill>
        <p:spPr>
          <a:xfrm>
            <a:off x="6159466" y="918682"/>
            <a:ext cx="5428517" cy="5296865"/>
          </a:xfrm>
          <a:prstGeom prst="rect">
            <a:avLst/>
          </a:prstGeom>
        </p:spPr>
      </p:pic>
    </p:spTree>
    <p:extLst>
      <p:ext uri="{BB962C8B-B14F-4D97-AF65-F5344CB8AC3E}">
        <p14:creationId xmlns:p14="http://schemas.microsoft.com/office/powerpoint/2010/main" val="34899498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5892597" y="829027"/>
            <a:ext cx="5582266" cy="5283584"/>
          </a:xfrm>
          <a:prstGeom prst="rect">
            <a:avLst/>
          </a:prstGeom>
        </p:spPr>
      </p:pic>
    </p:spTree>
    <p:extLst>
      <p:ext uri="{BB962C8B-B14F-4D97-AF65-F5344CB8AC3E}">
        <p14:creationId xmlns:p14="http://schemas.microsoft.com/office/powerpoint/2010/main" val="2986157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stretch>
            <a:fillRect/>
          </a:stretch>
        </p:blipFill>
        <p:spPr>
          <a:xfrm>
            <a:off x="6006358" y="739373"/>
            <a:ext cx="5424011" cy="5320858"/>
          </a:xfrm>
          <a:prstGeom prst="rect">
            <a:avLst/>
          </a:prstGeom>
        </p:spPr>
      </p:pic>
    </p:spTree>
    <p:extLst>
      <p:ext uri="{BB962C8B-B14F-4D97-AF65-F5344CB8AC3E}">
        <p14:creationId xmlns:p14="http://schemas.microsoft.com/office/powerpoint/2010/main" val="41563337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6136131" y="1725570"/>
            <a:ext cx="5388931" cy="4388447"/>
          </a:xfrm>
          <a:prstGeom prst="rect">
            <a:avLst/>
          </a:prstGeom>
        </p:spPr>
      </p:pic>
    </p:spTree>
    <p:extLst>
      <p:ext uri="{BB962C8B-B14F-4D97-AF65-F5344CB8AC3E}">
        <p14:creationId xmlns:p14="http://schemas.microsoft.com/office/powerpoint/2010/main" val="1514334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0807189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987748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6494609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1516876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7959422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302492368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90837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5" name="TextBox 4"/>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Philadelphia!</a:t>
            </a:r>
          </a:p>
        </p:txBody>
      </p:sp>
      <p:pic>
        <p:nvPicPr>
          <p:cNvPr id="6" name="Picture 5"/>
          <p:cNvPicPr>
            <a:picLocks noChangeAspect="1"/>
          </p:cNvPicPr>
          <p:nvPr userDrawn="1"/>
        </p:nvPicPr>
        <p:blipFill>
          <a:blip r:embed="rId3"/>
          <a:stretch>
            <a:fillRect/>
          </a:stretch>
        </p:blipFill>
        <p:spPr>
          <a:xfrm>
            <a:off x="6185642" y="1019411"/>
            <a:ext cx="5374293" cy="5090553"/>
          </a:xfrm>
          <a:prstGeom prst="rect">
            <a:avLst/>
          </a:prstGeom>
        </p:spPr>
      </p:pic>
    </p:spTree>
    <p:extLst>
      <p:ext uri="{BB962C8B-B14F-4D97-AF65-F5344CB8AC3E}">
        <p14:creationId xmlns:p14="http://schemas.microsoft.com/office/powerpoint/2010/main" val="3383429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okyo!</a:t>
            </a:r>
          </a:p>
        </p:txBody>
      </p:sp>
      <p:pic>
        <p:nvPicPr>
          <p:cNvPr id="5" name="Picture 4"/>
          <p:cNvPicPr>
            <a:picLocks noChangeAspect="1"/>
          </p:cNvPicPr>
          <p:nvPr userDrawn="1"/>
        </p:nvPicPr>
        <p:blipFill>
          <a:blip r:embed="rId3"/>
          <a:stretch>
            <a:fillRect/>
          </a:stretch>
        </p:blipFill>
        <p:spPr>
          <a:xfrm>
            <a:off x="5942768" y="746575"/>
            <a:ext cx="5531719" cy="5364851"/>
          </a:xfrm>
          <a:prstGeom prst="rect">
            <a:avLst/>
          </a:prstGeom>
        </p:spPr>
      </p:pic>
    </p:spTree>
    <p:extLst>
      <p:ext uri="{BB962C8B-B14F-4D97-AF65-F5344CB8AC3E}">
        <p14:creationId xmlns:p14="http://schemas.microsoft.com/office/powerpoint/2010/main" val="39272963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Stockholm!</a:t>
            </a:r>
          </a:p>
        </p:txBody>
      </p:sp>
      <p:pic>
        <p:nvPicPr>
          <p:cNvPr id="6" name="Picture 5"/>
          <p:cNvPicPr>
            <a:picLocks noChangeAspect="1"/>
          </p:cNvPicPr>
          <p:nvPr userDrawn="1"/>
        </p:nvPicPr>
        <p:blipFill>
          <a:blip r:embed="rId3"/>
          <a:stretch>
            <a:fillRect/>
          </a:stretch>
        </p:blipFill>
        <p:spPr>
          <a:xfrm>
            <a:off x="6006358" y="291102"/>
            <a:ext cx="5378490" cy="5814171"/>
          </a:xfrm>
          <a:prstGeom prst="rect">
            <a:avLst/>
          </a:prstGeom>
        </p:spPr>
      </p:pic>
    </p:spTree>
    <p:extLst>
      <p:ext uri="{BB962C8B-B14F-4D97-AF65-F5344CB8AC3E}">
        <p14:creationId xmlns:p14="http://schemas.microsoft.com/office/powerpoint/2010/main" val="24263761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el Aviv!</a:t>
            </a:r>
          </a:p>
        </p:txBody>
      </p:sp>
      <p:pic>
        <p:nvPicPr>
          <p:cNvPr id="6" name="Picture 5"/>
          <p:cNvPicPr>
            <a:picLocks noChangeAspect="1"/>
          </p:cNvPicPr>
          <p:nvPr userDrawn="1"/>
        </p:nvPicPr>
        <p:blipFill>
          <a:blip r:embed="rId3"/>
          <a:stretch>
            <a:fillRect/>
          </a:stretch>
        </p:blipFill>
        <p:spPr>
          <a:xfrm>
            <a:off x="6091086" y="470067"/>
            <a:ext cx="5392953" cy="5684665"/>
          </a:xfrm>
          <a:prstGeom prst="rect">
            <a:avLst/>
          </a:prstGeom>
        </p:spPr>
      </p:pic>
    </p:spTree>
    <p:extLst>
      <p:ext uri="{BB962C8B-B14F-4D97-AF65-F5344CB8AC3E}">
        <p14:creationId xmlns:p14="http://schemas.microsoft.com/office/powerpoint/2010/main" val="1784100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Paris!</a:t>
            </a:r>
          </a:p>
        </p:txBody>
      </p:sp>
      <p:pic>
        <p:nvPicPr>
          <p:cNvPr id="6" name="Picture 5"/>
          <p:cNvPicPr>
            <a:picLocks noChangeAspect="1"/>
          </p:cNvPicPr>
          <p:nvPr userDrawn="1"/>
        </p:nvPicPr>
        <p:blipFill>
          <a:blip r:embed="rId3"/>
          <a:stretch>
            <a:fillRect/>
          </a:stretch>
        </p:blipFill>
        <p:spPr>
          <a:xfrm>
            <a:off x="6185641" y="1078294"/>
            <a:ext cx="5334758" cy="5034317"/>
          </a:xfrm>
          <a:prstGeom prst="rect">
            <a:avLst/>
          </a:prstGeom>
        </p:spPr>
      </p:pic>
    </p:spTree>
    <p:extLst>
      <p:ext uri="{BB962C8B-B14F-4D97-AF65-F5344CB8AC3E}">
        <p14:creationId xmlns:p14="http://schemas.microsoft.com/office/powerpoint/2010/main" val="26748806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02280" y="1904878"/>
            <a:ext cx="5468137"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Washington, D.C.!</a:t>
            </a:r>
          </a:p>
        </p:txBody>
      </p:sp>
      <p:pic>
        <p:nvPicPr>
          <p:cNvPr id="6" name="Picture 5"/>
          <p:cNvPicPr>
            <a:picLocks noChangeAspect="1"/>
          </p:cNvPicPr>
          <p:nvPr userDrawn="1"/>
        </p:nvPicPr>
        <p:blipFill>
          <a:blip r:embed="rId3"/>
          <a:stretch>
            <a:fillRect/>
          </a:stretch>
        </p:blipFill>
        <p:spPr>
          <a:xfrm>
            <a:off x="6159466" y="918682"/>
            <a:ext cx="5428517" cy="5296865"/>
          </a:xfrm>
          <a:prstGeom prst="rect">
            <a:avLst/>
          </a:prstGeom>
        </p:spPr>
      </p:pic>
    </p:spTree>
    <p:extLst>
      <p:ext uri="{BB962C8B-B14F-4D97-AF65-F5344CB8AC3E}">
        <p14:creationId xmlns:p14="http://schemas.microsoft.com/office/powerpoint/2010/main" val="3484627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Atlanta!</a:t>
            </a:r>
          </a:p>
        </p:txBody>
      </p:sp>
      <p:pic>
        <p:nvPicPr>
          <p:cNvPr id="6" name="Picture 5"/>
          <p:cNvPicPr>
            <a:picLocks noChangeAspect="1"/>
          </p:cNvPicPr>
          <p:nvPr userDrawn="1"/>
        </p:nvPicPr>
        <p:blipFill>
          <a:blip r:embed="rId3"/>
          <a:stretch>
            <a:fillRect/>
          </a:stretch>
        </p:blipFill>
        <p:spPr>
          <a:xfrm>
            <a:off x="5892597" y="829027"/>
            <a:ext cx="5582266" cy="5283584"/>
          </a:xfrm>
          <a:prstGeom prst="rect">
            <a:avLst/>
          </a:prstGeom>
        </p:spPr>
      </p:pic>
    </p:spTree>
    <p:extLst>
      <p:ext uri="{BB962C8B-B14F-4D97-AF65-F5344CB8AC3E}">
        <p14:creationId xmlns:p14="http://schemas.microsoft.com/office/powerpoint/2010/main" val="510499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Frankfurt!</a:t>
            </a:r>
          </a:p>
        </p:txBody>
      </p:sp>
      <p:pic>
        <p:nvPicPr>
          <p:cNvPr id="6" name="Picture 5"/>
          <p:cNvPicPr>
            <a:picLocks noChangeAspect="1"/>
          </p:cNvPicPr>
          <p:nvPr userDrawn="1"/>
        </p:nvPicPr>
        <p:blipFill>
          <a:blip r:embed="rId3"/>
          <a:stretch>
            <a:fillRect/>
          </a:stretch>
        </p:blipFill>
        <p:spPr>
          <a:xfrm>
            <a:off x="6006358" y="739373"/>
            <a:ext cx="5424011" cy="5320858"/>
          </a:xfrm>
          <a:prstGeom prst="rect">
            <a:avLst/>
          </a:prstGeom>
        </p:spPr>
      </p:pic>
    </p:spTree>
    <p:extLst>
      <p:ext uri="{BB962C8B-B14F-4D97-AF65-F5344CB8AC3E}">
        <p14:creationId xmlns:p14="http://schemas.microsoft.com/office/powerpoint/2010/main" val="35672253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13073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sp>
        <p:nvSpPr>
          <p:cNvPr id="3" name="TextBox 2"/>
          <p:cNvSpPr txBox="1"/>
          <p:nvPr userDrawn="1"/>
        </p:nvSpPr>
        <p:spPr>
          <a:xfrm>
            <a:off x="1076076" y="2852420"/>
            <a:ext cx="4213151" cy="1831739"/>
          </a:xfrm>
          <a:prstGeom prst="rect">
            <a:avLst/>
          </a:prstGeom>
          <a:noFill/>
        </p:spPr>
        <p:txBody>
          <a:bodyPr wrap="square" lIns="179285" tIns="143428" rIns="179285" bIns="143428" rtlCol="0">
            <a:spAutoFit/>
          </a:bodyPr>
          <a:lstStyle/>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133"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Budapest!</a:t>
            </a:r>
          </a:p>
        </p:txBody>
      </p:sp>
      <p:pic>
        <p:nvPicPr>
          <p:cNvPr id="6" name="Picture 5"/>
          <p:cNvPicPr>
            <a:picLocks noChangeAspect="1"/>
          </p:cNvPicPr>
          <p:nvPr userDrawn="1"/>
        </p:nvPicPr>
        <p:blipFill>
          <a:blip r:embed="rId3"/>
          <a:stretch>
            <a:fillRect/>
          </a:stretch>
        </p:blipFill>
        <p:spPr>
          <a:xfrm>
            <a:off x="6136131" y="1725570"/>
            <a:ext cx="5388931" cy="4388447"/>
          </a:xfrm>
          <a:prstGeom prst="rect">
            <a:avLst/>
          </a:prstGeom>
        </p:spPr>
      </p:pic>
    </p:spTree>
    <p:extLst>
      <p:ext uri="{BB962C8B-B14F-4D97-AF65-F5344CB8AC3E}">
        <p14:creationId xmlns:p14="http://schemas.microsoft.com/office/powerpoint/2010/main" val="5906671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071120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10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0280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6268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5196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51166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70671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20086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3916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0683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613711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21210049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665367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7">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46613" r="20858" b="9535"/>
          <a:stretch/>
        </p:blipFill>
        <p:spPr>
          <a:xfrm>
            <a:off x="2" y="-1"/>
            <a:ext cx="12191999" cy="6858001"/>
          </a:xfrm>
          <a:prstGeom prst="rect">
            <a:avLst/>
          </a:prstGeom>
        </p:spPr>
      </p:pic>
      <p:sp>
        <p:nvSpPr>
          <p:cNvPr id="8" name="Rectangle 7"/>
          <p:cNvSpPr/>
          <p:nvPr userDrawn="1"/>
        </p:nvSpPr>
        <p:spPr bwMode="gray">
          <a:xfrm>
            <a:off x="269239" y="2084173"/>
            <a:ext cx="7171383" cy="2689640"/>
          </a:xfrm>
          <a:prstGeom prst="rect">
            <a:avLst/>
          </a:pr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9"/>
          <p:cNvSpPr>
            <a:spLocks noGrp="1"/>
          </p:cNvSpPr>
          <p:nvPr>
            <p:ph type="title"/>
          </p:nvPr>
        </p:nvSpPr>
        <p:spPr>
          <a:xfrm>
            <a:off x="267682" y="2082469"/>
            <a:ext cx="7172940" cy="1884456"/>
          </a:xfrm>
        </p:spPr>
        <p:txBody>
          <a:bodyPr/>
          <a:lstStyle/>
          <a:p>
            <a:r>
              <a:rPr lang="en-US" dirty="0" smtClean="0"/>
              <a:t>Hardware presentation title goes here.</a:t>
            </a: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12" name="Picture 11" descr="summit-sign_lockup_RGB_event_name-02.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302" y="4764474"/>
            <a:ext cx="1792850" cy="1793104"/>
          </a:xfrm>
          <a:prstGeom prst="rect">
            <a:avLst/>
          </a:prstGeom>
        </p:spPr>
      </p:pic>
    </p:spTree>
    <p:extLst>
      <p:ext uri="{BB962C8B-B14F-4D97-AF65-F5344CB8AC3E}">
        <p14:creationId xmlns:p14="http://schemas.microsoft.com/office/powerpoint/2010/main" val="4082363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8511878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5193073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8669602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6DC2E9"/>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9696519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6DC2E9"/>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7936391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6DC2E9"/>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866526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3433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136680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30871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93161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8472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53633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8806466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3127601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구역 머리글">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30095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bIns="0"/>
          <a:lstStyle/>
          <a:p>
            <a:r>
              <a:rPr lang="en-US" dirty="0" smtClean="0"/>
              <a:t>Click to edit master title style</a:t>
            </a:r>
            <a:endParaRPr lang="en-US" dirty="0"/>
          </a:p>
        </p:txBody>
      </p:sp>
    </p:spTree>
    <p:extLst>
      <p:ext uri="{BB962C8B-B14F-4D97-AF65-F5344CB8AC3E}">
        <p14:creationId xmlns:p14="http://schemas.microsoft.com/office/powerpoint/2010/main" val="359328240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55" y="259793"/>
            <a:ext cx="8964247" cy="979531"/>
          </a:xfrm>
        </p:spPr>
        <p:txBody>
          <a:bodyPr lIns="146125" tIns="91329" rIns="146125" bIns="91329"/>
          <a:lstStyle>
            <a:lvl1pPr>
              <a:lnSpc>
                <a:spcPts val="6175"/>
              </a:lnSpc>
              <a:defRPr sz="5097" baseline="0">
                <a:solidFill>
                  <a:schemeClr val="tx2"/>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140828030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317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hoto">
    <p:bg>
      <p:bgPr>
        <a:solidFill>
          <a:srgbClr val="00B29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29545" y="0"/>
            <a:ext cx="6762455" cy="6858914"/>
          </a:xfrm>
          <a:prstGeom prst="rect">
            <a:avLst/>
          </a:prstGeom>
        </p:spPr>
      </p:pic>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430972" y="5060911"/>
            <a:ext cx="1196593" cy="436750"/>
          </a:xfrm>
          <a:prstGeom prst="rect">
            <a:avLst/>
          </a:prstGeom>
        </p:spPr>
      </p:pic>
      <p:pic>
        <p:nvPicPr>
          <p:cNvPr id="19" name="Picture 18"/>
          <p:cNvPicPr>
            <a:picLocks noChangeAspect="1"/>
          </p:cNvPicPr>
          <p:nvPr userDrawn="1"/>
        </p:nvPicPr>
        <p:blipFill>
          <a:blip r:embed="rId4" cstate="print">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5915750" y="2140145"/>
            <a:ext cx="733926" cy="861876"/>
          </a:xfrm>
          <a:prstGeom prst="rect">
            <a:avLst/>
          </a:prstGeom>
        </p:spPr>
      </p:pic>
      <p:grpSp>
        <p:nvGrpSpPr>
          <p:cNvPr id="20" name="Group 19"/>
          <p:cNvGrpSpPr/>
          <p:nvPr userDrawn="1"/>
        </p:nvGrpSpPr>
        <p:grpSpPr>
          <a:xfrm>
            <a:off x="7031306" y="4681987"/>
            <a:ext cx="590250" cy="690610"/>
            <a:chOff x="1502342" y="238442"/>
            <a:chExt cx="1596433" cy="1867608"/>
          </a:xfrm>
          <a:solidFill>
            <a:schemeClr val="bg1"/>
          </a:solidFill>
        </p:grpSpPr>
        <p:sp>
          <p:nvSpPr>
            <p:cNvPr id="21"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5" name="Picture 24"/>
          <p:cNvPicPr>
            <a:picLocks noChangeAspect="1"/>
          </p:cNvPicPr>
          <p:nvPr userDrawn="1"/>
        </p:nvPicPr>
        <p:blipFill>
          <a:blip r:embed="rId6" cstate="print">
            <a:lum bright="70000" contrast="-70000"/>
            <a:extLst>
              <a:ext uri="{28A0092B-C50C-407E-A947-70E740481C1C}">
                <a14:useLocalDpi xmlns:a14="http://schemas.microsoft.com/office/drawing/2010/main" val="0"/>
              </a:ext>
            </a:extLst>
          </a:blip>
          <a:stretch>
            <a:fillRect/>
          </a:stretch>
        </p:blipFill>
        <p:spPr>
          <a:xfrm>
            <a:off x="11361314" y="2490367"/>
            <a:ext cx="448668" cy="549106"/>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16" name="Freeform 1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32811" y="316985"/>
            <a:ext cx="544787" cy="785218"/>
          </a:xfrm>
          <a:prstGeom prst="rect">
            <a:avLst/>
          </a:prstGeom>
        </p:spPr>
      </p:pic>
      <p:pic>
        <p:nvPicPr>
          <p:cNvPr id="18"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9781445" y="191674"/>
            <a:ext cx="631571" cy="631660"/>
          </a:xfrm>
          <a:prstGeom prst="rect">
            <a:avLst/>
          </a:prstGeom>
          <a:noFill/>
          <a:ln>
            <a:noFill/>
          </a:ln>
          <a:extLst/>
        </p:spPr>
      </p:pic>
      <p:pic>
        <p:nvPicPr>
          <p:cNvPr id="28" name="Picture 2" descr="http://upload.wikimedia.org/wikipedia/commons/thumb/2/27/PHP-logo.svg/1000px-PHP-logo.svg.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5915749" y="3156641"/>
            <a:ext cx="758444" cy="401975"/>
          </a:xfrm>
          <a:prstGeom prst="rect">
            <a:avLst/>
          </a:prstGeom>
          <a:noFill/>
          <a:extLst/>
        </p:spPr>
      </p:pic>
      <p:pic>
        <p:nvPicPr>
          <p:cNvPr id="31" name="Picture 2">
            <a:hlinkClick r:id="rId11"/>
          </p:cNvPr>
          <p:cNvPicPr>
            <a:picLocks noChangeAspect="1" noChangeArrowheads="1"/>
          </p:cNvPicPr>
          <p:nvPr/>
        </p:nvPicPr>
        <p:blipFill>
          <a:blip r:embed="rId12" cstate="print">
            <a:biLevel thresh="25000"/>
            <a:extLst>
              <a:ext uri="{28A0092B-C50C-407E-A947-70E740481C1C}">
                <a14:useLocalDpi xmlns:a14="http://schemas.microsoft.com/office/drawing/2010/main" val="0"/>
              </a:ext>
            </a:extLst>
          </a:blip>
          <a:stretch>
            <a:fillRect/>
          </a:stretch>
        </p:blipFill>
        <p:spPr bwMode="auto">
          <a:xfrm>
            <a:off x="6072009" y="611584"/>
            <a:ext cx="1441603" cy="493344"/>
          </a:xfrm>
          <a:prstGeom prst="rect">
            <a:avLst/>
          </a:prstGeom>
          <a:noFill/>
          <a:extLst/>
        </p:spPr>
      </p:pic>
      <p:pic>
        <p:nvPicPr>
          <p:cNvPr id="34" name="Picture 2" descr="C:\Users\claudette\Documents\2011 Jobs\Kelly Young\02-Crystal\graphics\java.png"/>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11274685" y="3324443"/>
            <a:ext cx="469103" cy="862878"/>
          </a:xfrm>
          <a:prstGeom prst="rect">
            <a:avLst/>
          </a:prstGeom>
          <a:noFill/>
          <a:extLst/>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626216" y="252799"/>
            <a:ext cx="1774792" cy="408332"/>
          </a:xfrm>
          <a:prstGeom prst="rect">
            <a:avLst/>
          </a:prstGeom>
        </p:spPr>
      </p:pic>
    </p:spTree>
    <p:extLst>
      <p:ext uri="{BB962C8B-B14F-4D97-AF65-F5344CB8AC3E}">
        <p14:creationId xmlns:p14="http://schemas.microsoft.com/office/powerpoint/2010/main" val="37827526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le Slide Photo">
    <p:bg>
      <p:bgPr>
        <a:solidFill>
          <a:srgbClr val="00B29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42627" y="0"/>
            <a:ext cx="6857664" cy="6858000"/>
          </a:xfrm>
          <a:prstGeom prst="rect">
            <a:avLst/>
          </a:prstGeom>
        </p:spPr>
      </p:pic>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0346542" y="4146245"/>
            <a:ext cx="1196593" cy="436750"/>
          </a:xfrm>
          <a:prstGeom prst="rect">
            <a:avLst/>
          </a:prstGeom>
        </p:spPr>
      </p:pic>
      <p:pic>
        <p:nvPicPr>
          <p:cNvPr id="19" name="Picture 18"/>
          <p:cNvPicPr>
            <a:picLocks noChangeAspect="1"/>
          </p:cNvPicPr>
          <p:nvPr userDrawn="1"/>
        </p:nvPicPr>
        <p:blipFill>
          <a:blip r:embed="rId4" cstate="print">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6349032" y="1709207"/>
            <a:ext cx="733926" cy="861876"/>
          </a:xfrm>
          <a:prstGeom prst="rect">
            <a:avLst/>
          </a:prstGeom>
        </p:spPr>
      </p:pic>
      <p:grpSp>
        <p:nvGrpSpPr>
          <p:cNvPr id="20" name="Group 19"/>
          <p:cNvGrpSpPr/>
          <p:nvPr userDrawn="1"/>
        </p:nvGrpSpPr>
        <p:grpSpPr>
          <a:xfrm>
            <a:off x="7621556" y="4620679"/>
            <a:ext cx="590250" cy="690610"/>
            <a:chOff x="1502342" y="238442"/>
            <a:chExt cx="1596433" cy="1867608"/>
          </a:xfrm>
          <a:solidFill>
            <a:schemeClr val="bg1"/>
          </a:solidFill>
        </p:grpSpPr>
        <p:sp>
          <p:nvSpPr>
            <p:cNvPr id="21"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5" name="Picture 24"/>
          <p:cNvPicPr>
            <a:picLocks noChangeAspect="1"/>
          </p:cNvPicPr>
          <p:nvPr userDrawn="1"/>
        </p:nvPicPr>
        <p:blipFill>
          <a:blip r:embed="rId6" cstate="print">
            <a:lum bright="70000" contrast="-70000"/>
            <a:extLst>
              <a:ext uri="{28A0092B-C50C-407E-A947-70E740481C1C}">
                <a14:useLocalDpi xmlns:a14="http://schemas.microsoft.com/office/drawing/2010/main" val="0"/>
              </a:ext>
            </a:extLst>
          </a:blip>
          <a:stretch>
            <a:fillRect/>
          </a:stretch>
        </p:blipFill>
        <p:spPr>
          <a:xfrm>
            <a:off x="10720505" y="1992531"/>
            <a:ext cx="448668" cy="549106"/>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16" name="Freeform 1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191937" y="979099"/>
            <a:ext cx="544787" cy="785218"/>
          </a:xfrm>
          <a:prstGeom prst="rect">
            <a:avLst/>
          </a:prstGeom>
        </p:spPr>
      </p:pic>
      <p:pic>
        <p:nvPicPr>
          <p:cNvPr id="18"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9463621" y="578757"/>
            <a:ext cx="567728" cy="567808"/>
          </a:xfrm>
          <a:prstGeom prst="rect">
            <a:avLst/>
          </a:prstGeom>
          <a:noFill/>
          <a:ln>
            <a:noFill/>
          </a:ln>
          <a:extLst/>
        </p:spPr>
      </p:pic>
      <p:pic>
        <p:nvPicPr>
          <p:cNvPr id="28" name="Picture 2" descr="http://upload.wikimedia.org/wikipedia/commons/thumb/2/27/PHP-logo.svg/1000px-PHP-logo.svg.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6719836" y="4144666"/>
            <a:ext cx="758444" cy="401975"/>
          </a:xfrm>
          <a:prstGeom prst="rect">
            <a:avLst/>
          </a:prstGeom>
          <a:noFill/>
          <a:extLst/>
        </p:spPr>
      </p:pic>
      <p:pic>
        <p:nvPicPr>
          <p:cNvPr id="31" name="Picture 2">
            <a:hlinkClick r:id="rId11"/>
          </p:cNvPr>
          <p:cNvPicPr>
            <a:picLocks noChangeAspect="1" noChangeArrowheads="1"/>
          </p:cNvPicPr>
          <p:nvPr userDrawn="1"/>
        </p:nvPicPr>
        <p:blipFill>
          <a:blip r:embed="rId12" cstate="print">
            <a:biLevel thresh="25000"/>
            <a:extLst>
              <a:ext uri="{28A0092B-C50C-407E-A947-70E740481C1C}">
                <a14:useLocalDpi xmlns:a14="http://schemas.microsoft.com/office/drawing/2010/main" val="0"/>
              </a:ext>
            </a:extLst>
          </a:blip>
          <a:stretch>
            <a:fillRect/>
          </a:stretch>
        </p:blipFill>
        <p:spPr bwMode="auto">
          <a:xfrm>
            <a:off x="6216053" y="1070381"/>
            <a:ext cx="1441603" cy="493344"/>
          </a:xfrm>
          <a:prstGeom prst="rect">
            <a:avLst/>
          </a:prstGeom>
          <a:noFill/>
          <a:extLst/>
        </p:spPr>
      </p:pic>
      <p:pic>
        <p:nvPicPr>
          <p:cNvPr id="34" name="Picture 2" descr="C:\Users\claudette\Documents\2011 Jobs\Kelly Young\02-Crystal\graphics\java.png"/>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9711462" y="4620679"/>
            <a:ext cx="375449" cy="690611"/>
          </a:xfrm>
          <a:prstGeom prst="rect">
            <a:avLst/>
          </a:prstGeom>
          <a:noFill/>
          <a:extLst/>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435694" y="622181"/>
            <a:ext cx="1774792" cy="408332"/>
          </a:xfrm>
          <a:prstGeom prst="rect">
            <a:avLst/>
          </a:prstGeom>
        </p:spPr>
      </p:pic>
      <p:sp>
        <p:nvSpPr>
          <p:cNvPr id="24" name="Oval 23"/>
          <p:cNvSpPr/>
          <p:nvPr userDrawn="1"/>
        </p:nvSpPr>
        <p:spPr bwMode="auto">
          <a:xfrm>
            <a:off x="7282718" y="1376290"/>
            <a:ext cx="3181612" cy="3182063"/>
          </a:xfrm>
          <a:prstGeom prst="ellipse">
            <a:avLst/>
          </a:prstGeom>
          <a:noFill/>
          <a:ln w="57150" cap="rnd">
            <a:solidFill>
              <a:srgbClr val="6DC2E9"/>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663995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7063152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470067"/>
            <a:ext cx="1517768" cy="326167"/>
          </a:xfrm>
          <a:prstGeom prst="rect">
            <a:avLst/>
          </a:prstGeom>
        </p:spPr>
      </p:pic>
      <p:sp>
        <p:nvSpPr>
          <p:cNvPr id="7" name="Freeform 6"/>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584485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769115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7" name="Freeform 6"/>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645299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alpha val="16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039075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5" name="Freeform 4"/>
          <p:cNvSpPr>
            <a:spLocks noChangeAspect="1" noEditPoints="1"/>
          </p:cNvSpPr>
          <p:nvPr userDrawn="1"/>
        </p:nvSpPr>
        <p:spPr bwMode="auto">
          <a:xfrm>
            <a:off x="-342355" y="5031788"/>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alpha val="16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7203014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24171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584240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2583002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47435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63523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accent2"/>
                    </a:gs>
                    <a:gs pos="100000">
                      <a:schemeClr val="accent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056685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7152063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accent2"/>
                    </a:gs>
                    <a:gs pos="100000">
                      <a:schemeClr val="accent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974230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873304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accent2"/>
                    </a:gs>
                    <a:gs pos="10000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accent2"/>
                    </a:gs>
                    <a:gs pos="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172356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7151621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830332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0739397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700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410737396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73878269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352718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8249426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051059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0343435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89460857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13929794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55458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49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062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669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173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62685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46879"/>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1128258"/>
          </a:xfrm>
        </p:spPr>
        <p:txBody>
          <a:bodyPr/>
          <a:lstStyle>
            <a:lvl1pPr marL="0" indent="0">
              <a:spcBef>
                <a:spcPts val="0"/>
              </a:spcBef>
              <a:spcAft>
                <a:spcPts val="900"/>
              </a:spcAft>
              <a:buNone/>
              <a:defRPr sz="4019" spc="-100" baseline="0">
                <a:latin typeface="Segoe UI Light" pitchFamily="34" charset="0"/>
              </a:defRPr>
            </a:lvl1pPr>
            <a:lvl2pPr marL="0" indent="0">
              <a:spcBef>
                <a:spcPts val="0"/>
              </a:spcBef>
              <a:spcAft>
                <a:spcPts val="400"/>
              </a:spcAft>
              <a:buNone/>
              <a:defRPr sz="1961" spc="-50" baseline="0"/>
            </a:lvl2pPr>
            <a:lvl3pPr marL="0" indent="0">
              <a:spcBef>
                <a:spcPts val="0"/>
              </a:spcBef>
              <a:spcAft>
                <a:spcPts val="400"/>
              </a:spcAft>
              <a:buNone/>
              <a:defRPr sz="1961"/>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16702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7"/>
            <a:ext cx="103631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1" y="3886200"/>
            <a:ext cx="8534400" cy="727700"/>
          </a:xfrm>
        </p:spPr>
        <p:txBody>
          <a:bodyPr/>
          <a:lstStyle>
            <a:lvl1pPr marL="0" indent="0" algn="ctr">
              <a:buNone/>
              <a:defRPr>
                <a:solidFill>
                  <a:schemeClr val="tx1">
                    <a:tint val="75000"/>
                  </a:schemeClr>
                </a:solidFill>
              </a:defRPr>
            </a:lvl1pPr>
            <a:lvl2pPr marL="609376" indent="0" algn="ctr">
              <a:buNone/>
              <a:defRPr>
                <a:solidFill>
                  <a:schemeClr val="tx1">
                    <a:tint val="75000"/>
                  </a:schemeClr>
                </a:solidFill>
              </a:defRPr>
            </a:lvl2pPr>
            <a:lvl3pPr marL="1218753" indent="0" algn="ctr">
              <a:buNone/>
              <a:defRPr>
                <a:solidFill>
                  <a:schemeClr val="tx1">
                    <a:tint val="75000"/>
                  </a:schemeClr>
                </a:solidFill>
              </a:defRPr>
            </a:lvl3pPr>
            <a:lvl4pPr marL="1828129" indent="0" algn="ctr">
              <a:buNone/>
              <a:defRPr>
                <a:solidFill>
                  <a:schemeClr val="tx1">
                    <a:tint val="75000"/>
                  </a:schemeClr>
                </a:solidFill>
              </a:defRPr>
            </a:lvl4pPr>
            <a:lvl5pPr marL="2437505" indent="0" algn="ctr">
              <a:buNone/>
              <a:defRPr>
                <a:solidFill>
                  <a:schemeClr val="tx1">
                    <a:tint val="75000"/>
                  </a:schemeClr>
                </a:solidFill>
              </a:defRPr>
            </a:lvl5pPr>
            <a:lvl6pPr marL="3046882" indent="0" algn="ctr">
              <a:buNone/>
              <a:defRPr>
                <a:solidFill>
                  <a:schemeClr val="tx1">
                    <a:tint val="75000"/>
                  </a:schemeClr>
                </a:solidFill>
              </a:defRPr>
            </a:lvl6pPr>
            <a:lvl7pPr marL="3656258" indent="0" algn="ctr">
              <a:buNone/>
              <a:defRPr>
                <a:solidFill>
                  <a:schemeClr val="tx1">
                    <a:tint val="75000"/>
                  </a:schemeClr>
                </a:solidFill>
              </a:defRPr>
            </a:lvl7pPr>
            <a:lvl8pPr marL="4265633" indent="0" algn="ctr">
              <a:buNone/>
              <a:defRPr>
                <a:solidFill>
                  <a:schemeClr val="tx1">
                    <a:tint val="75000"/>
                  </a:schemeClr>
                </a:solidFill>
              </a:defRPr>
            </a:lvl8pPr>
            <a:lvl9pPr marL="487501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444068A-B0CA-4F3C-903F-80F1D76494BA}" type="datetimeFigureOut">
              <a:rPr kumimoji="0" lang="en-US"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5/10/2016</a:t>
            </a:fld>
            <a:endParaRPr kumimoji="0" lang="en-US" sz="18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Footer Placeholder 4"/>
          <p:cNvSpPr>
            <a:spLocks noGrp="1"/>
          </p:cNvSpPr>
          <p:nvPr>
            <p:ph type="ftr" sz="quarter" idx="11"/>
          </p:nvPr>
        </p:nvSpPr>
        <p:spPr>
          <a:xfrm>
            <a:off x="4165600" y="6356352"/>
            <a:ext cx="3860801"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701E7D42-A4D6-4952-B574-12107F8FBC2E}" type="slidenum">
              <a:rPr kumimoji="0" lang="en-US"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65122848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7_Text Slide Full Magenta">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lumMod val="50000"/>
                  </a:schemeClr>
                </a:solidFill>
              </a:defRPr>
            </a:lvl1pPr>
          </a:lstStyle>
          <a:p>
            <a:r>
              <a:rPr lang="en-US" smtClean="0"/>
              <a:t>Click to edit Master title style</a:t>
            </a:r>
            <a:endParaRPr lang="en-US"/>
          </a:p>
        </p:txBody>
      </p:sp>
      <p:sp>
        <p:nvSpPr>
          <p:cNvPr id="3" name="Slide Number Placeholder 2"/>
          <p:cNvSpPr>
            <a:spLocks noGrp="1"/>
          </p:cNvSpPr>
          <p:nvPr>
            <p:ph type="sldNum" sz="quarter" idx="10"/>
          </p:nvPr>
        </p:nvSpPr>
        <p:spPr>
          <a:xfrm>
            <a:off x="269238" y="6448425"/>
            <a:ext cx="452438" cy="27305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A71FF1B1-EC3B-294C-9558-D3EB467AF703}"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Content Placeholder 4"/>
          <p:cNvSpPr>
            <a:spLocks noGrp="1"/>
          </p:cNvSpPr>
          <p:nvPr>
            <p:ph sz="quarter" idx="11"/>
          </p:nvPr>
        </p:nvSpPr>
        <p:spPr>
          <a:xfrm>
            <a:off x="233904" y="1446382"/>
            <a:ext cx="11380577" cy="1484765"/>
          </a:xfrm>
        </p:spPr>
        <p:txBody>
          <a:bodyPr>
            <a:spAutoFit/>
          </a:bodyPr>
          <a:lstStyle>
            <a:lvl1pPr>
              <a:spcBef>
                <a:spcPts val="1200"/>
              </a:spcBef>
              <a:defRPr>
                <a:solidFill>
                  <a:schemeClr val="bg1">
                    <a:lumMod val="50000"/>
                  </a:schemeClr>
                </a:solidFill>
              </a:defRPr>
            </a:lvl1pPr>
            <a:lvl2pPr>
              <a:lnSpc>
                <a:spcPct val="100000"/>
              </a:lnSpc>
              <a:spcBef>
                <a:spcPts val="800"/>
              </a:spcBef>
              <a:defRPr>
                <a:solidFill>
                  <a:schemeClr val="bg1">
                    <a:lumMod val="50000"/>
                  </a:schemeClr>
                </a:solidFill>
              </a:defRPr>
            </a:lvl2pPr>
            <a:lvl3pPr marL="0" indent="0">
              <a:lnSpc>
                <a:spcPct val="100000"/>
              </a:lnSpc>
              <a:spcBef>
                <a:spcPts val="600"/>
              </a:spcBef>
              <a:defRPr sz="1400">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128200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6700" y="2026130"/>
            <a:ext cx="11639550" cy="2421692"/>
          </a:xfrm>
        </p:spPr>
        <p:txBody>
          <a:bodyPr anchor="t" anchorCtr="0">
            <a:noAutofit/>
          </a:bodyPr>
          <a:lstStyle>
            <a:lvl1pPr algn="l">
              <a:defRPr sz="8038">
                <a:solidFill>
                  <a:srgbClr val="FFFFFF"/>
                </a:solidFill>
              </a:defRPr>
            </a:lvl1pPr>
          </a:lstStyle>
          <a:p>
            <a:r>
              <a:rPr lang="en-US" dirty="0" smtClean="0"/>
              <a:t>Click to edit title</a:t>
            </a:r>
            <a:br>
              <a:rPr lang="en-US" dirty="0" smtClean="0"/>
            </a:br>
            <a:endParaRPr lang="en-US" dirty="0"/>
          </a:p>
        </p:txBody>
      </p:sp>
      <p:pic>
        <p:nvPicPr>
          <p:cNvPr id="4" name="Picture 3"/>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2381593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marL="0" marR="0" lvl="0" indent="0" algn="l" defTabSz="913949"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marL="0" marR="0" lvl="0" indent="0" algn="l" defTabSz="913949"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43444561"/>
      </p:ext>
    </p:extLst>
  </p:cSld>
  <p:clrMapOvr>
    <a:masterClrMapping/>
  </p:clrMapOvr>
  <p:transition spd="slow">
    <p:wipe dir="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466330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pic>
        <p:nvPicPr>
          <p:cNvPr id="6" name="Picture 2" descr="\\211.47.134.14\2014\Microsoft\0924_techdays korea 2014_구예진 B\로고\techday logo- gray 9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532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4" cy="2387600"/>
          </a:xfrm>
        </p:spPr>
        <p:txBody>
          <a:bodyPr anchor="b">
            <a:noAutofit/>
          </a:bodyPr>
          <a:lstStyle>
            <a:lvl1pPr algn="l">
              <a:defRPr sz="23888">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4276939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Title Slide 3">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12682" r="18628" b="10323"/>
          <a:stretch/>
        </p:blipFill>
        <p:spPr>
          <a:xfrm>
            <a:off x="0" y="0"/>
            <a:ext cx="12192000" cy="6858001"/>
          </a:xfrm>
          <a:prstGeom prst="rect">
            <a:avLst/>
          </a:prstGeom>
        </p:spPr>
      </p:pic>
      <p:sp>
        <p:nvSpPr>
          <p:cNvPr id="18" name="Rectangle 17"/>
          <p:cNvSpPr/>
          <p:nvPr/>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6274911"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6274911"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pic>
        <p:nvPicPr>
          <p:cNvPr id="10" name="Picture 2" descr="\\211.47.134.14\2014\Microsoft\0924_techdays korea 2014_구예진 B\로고\techday logo- gray 9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9145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_Title Slide 4">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pic>
        <p:nvPicPr>
          <p:cNvPr id="10" name="Picture 2" descr="\\211.47.134.14\2014\Microsoft\0924_techdays korea 2014_구예진 B\로고\techday logo- gray 9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492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6" y="894"/>
            <a:ext cx="12188387" cy="6858973"/>
          </a:xfrm>
          <a:prstGeom prst="rect">
            <a:avLst/>
          </a:prstGeom>
        </p:spPr>
      </p:pic>
      <p:sp>
        <p:nvSpPr>
          <p:cNvPr id="17" name="Rectangle 16"/>
          <p:cNvSpPr/>
          <p:nvPr/>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ltLang="ko-KR" smtClean="0"/>
              <a:t>Click to edit Master text styles</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2050" name="Picture 2" descr="\\211.47.134.14\2014\Microsoft\0924_techdays korea 2014_구예진 B\로고\techdayskorea2014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36966" y="390456"/>
            <a:ext cx="1412998" cy="638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4275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Title Slide 6">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13312" r="17641" b="16929"/>
          <a:stretch/>
        </p:blipFill>
        <p:spPr>
          <a:xfrm>
            <a:off x="0" y="0"/>
            <a:ext cx="12192000" cy="6857999"/>
          </a:xfrm>
          <a:prstGeom prst="rect">
            <a:avLst/>
          </a:prstGeom>
        </p:spPr>
      </p:pic>
      <p:sp>
        <p:nvSpPr>
          <p:cNvPr id="17" name="Rectangle 16"/>
          <p:cNvSpPr/>
          <p:nvPr/>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8" name="Picture 2" descr="\\211.47.134.14\2014\Microsoft\0924_techdays korea 2014_구예진 B\로고\techday logo- gray 9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9115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Title Slide 7">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3333" t="3333" r="4875" b="4875"/>
          <a:stretch/>
        </p:blipFill>
        <p:spPr>
          <a:xfrm>
            <a:off x="864" y="-1"/>
            <a:ext cx="12190272" cy="6858001"/>
          </a:xfrm>
          <a:prstGeom prst="rect">
            <a:avLst/>
          </a:prstGeom>
        </p:spPr>
      </p:pic>
      <p:sp>
        <p:nvSpPr>
          <p:cNvPr id="18" name="Rectangle 17"/>
          <p:cNvSpPr/>
          <p:nvPr/>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9755287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Title Slide 8 ">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gray">
          <a:xfrm>
            <a:off x="269302"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450351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Rectangle 2"/>
          <p:cNvSpPr/>
          <p:nvPr/>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2" descr="\\211.47.134.14\2014\Microsoft\0924_techdays korea 2014_구예진 B\로고\techday logo- gray 9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4831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537845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4517242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ltLang="ko-KR" smtClean="0"/>
              <a:t>Click to edit Master text styles</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783246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455110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1" y="6256217"/>
            <a:ext cx="2743200" cy="365125"/>
          </a:xfrm>
          <a:prstGeom prst="rect">
            <a:avLst/>
          </a:prstGeom>
        </p:spPr>
        <p:txBody>
          <a:bodyPr/>
          <a:lstStyle/>
          <a:p>
            <a:pPr defTabSz="914367" latinLnBrk="0"/>
            <a:fld id="{0A164282-434E-41D4-9582-783D542A7B68}" type="slidenum">
              <a:rPr lang="en-US" sz="1765" smtClean="0">
                <a:solidFill>
                  <a:srgbClr val="505050"/>
                </a:solidFill>
              </a:rPr>
              <a:pPr defTabSz="914367" latinLnBrk="0"/>
              <a:t>‹#›</a:t>
            </a:fld>
            <a:endParaRPr lang="en-US" sz="1765">
              <a:solidFill>
                <a:srgbClr val="505050"/>
              </a:solidFill>
            </a:endParaRPr>
          </a:p>
        </p:txBody>
      </p:sp>
    </p:spTree>
    <p:extLst>
      <p:ext uri="{BB962C8B-B14F-4D97-AF65-F5344CB8AC3E}">
        <p14:creationId xmlns:p14="http://schemas.microsoft.com/office/powerpoint/2010/main" val="12464356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13312" r="17641" b="16929"/>
          <a:stretch/>
        </p:blipFill>
        <p:spPr>
          <a:xfrm>
            <a:off x="0" y="0"/>
            <a:ext cx="12192000" cy="6857999"/>
          </a:xfrm>
          <a:prstGeom prst="rect">
            <a:avLst/>
          </a:prstGeom>
        </p:spPr>
      </p:pic>
      <p:sp>
        <p:nvSpPr>
          <p:cNvPr id="17" name="Rectangle 16"/>
          <p:cNvSpPr/>
          <p:nvPr/>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7980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lide 7">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3333" t="3333" r="4875" b="4875"/>
          <a:stretch/>
        </p:blipFill>
        <p:spPr>
          <a:xfrm>
            <a:off x="864" y="-1"/>
            <a:ext cx="12190272" cy="6858001"/>
          </a:xfrm>
          <a:prstGeom prst="rect">
            <a:avLst/>
          </a:prstGeom>
        </p:spPr>
      </p:pic>
      <p:sp>
        <p:nvSpPr>
          <p:cNvPr id="18" name="Rectangle 17"/>
          <p:cNvSpPr/>
          <p:nvPr/>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4064142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6537793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pic>
        <p:nvPicPr>
          <p:cNvPr id="6"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4017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98600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27592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52097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4441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pic>
        <p:nvPicPr>
          <p:cNvPr id="4"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2213393"/>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pic>
        <p:nvPicPr>
          <p:cNvPr id="4"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0860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298" y="1612373"/>
            <a:ext cx="10989093" cy="2184808"/>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3614397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제목 및 내용">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
        <p:nvSpPr>
          <p:cNvPr id="6" name="Title 5"/>
          <p:cNvSpPr>
            <a:spLocks noGrp="1"/>
          </p:cNvSpPr>
          <p:nvPr>
            <p:ph type="title"/>
          </p:nvPr>
        </p:nvSpPr>
        <p:spPr/>
        <p:txBody>
          <a:bodyPr/>
          <a:lstStyle/>
          <a:p>
            <a:r>
              <a:rPr lang="en-US" altLang="ko-KR" smtClean="0"/>
              <a:t>Click to edit Master title style</a:t>
            </a:r>
            <a:endParaRPr lang="en-US"/>
          </a:p>
        </p:txBody>
      </p:sp>
    </p:spTree>
    <p:extLst>
      <p:ext uri="{BB962C8B-B14F-4D97-AF65-F5344CB8AC3E}">
        <p14:creationId xmlns:p14="http://schemas.microsoft.com/office/powerpoint/2010/main" val="978233335"/>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
        <p:nvSpPr>
          <p:cNvPr id="6" name="Title 5"/>
          <p:cNvSpPr>
            <a:spLocks noGrp="1"/>
          </p:cNvSpPr>
          <p:nvPr>
            <p:ph type="title"/>
          </p:nvPr>
        </p:nvSpPr>
        <p:spPr/>
        <p:txBody>
          <a:bodyPr/>
          <a:lstStyle/>
          <a:p>
            <a:r>
              <a:rPr lang="en-US" altLang="ko-KR" smtClean="0"/>
              <a:t>Click to edit Master title style</a:t>
            </a:r>
            <a:endParaRPr lang="en-US"/>
          </a:p>
        </p:txBody>
      </p:sp>
      <p:pic>
        <p:nvPicPr>
          <p:cNvPr id="5"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555745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Tree>
    <p:extLst>
      <p:ext uri="{BB962C8B-B14F-4D97-AF65-F5344CB8AC3E}">
        <p14:creationId xmlns:p14="http://schemas.microsoft.com/office/powerpoint/2010/main" val="275352171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Tree>
    <p:extLst>
      <p:ext uri="{BB962C8B-B14F-4D97-AF65-F5344CB8AC3E}">
        <p14:creationId xmlns:p14="http://schemas.microsoft.com/office/powerpoint/2010/main" val="324340434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Tree>
    <p:extLst>
      <p:ext uri="{BB962C8B-B14F-4D97-AF65-F5344CB8AC3E}">
        <p14:creationId xmlns:p14="http://schemas.microsoft.com/office/powerpoint/2010/main" val="28515462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Tree>
    <p:extLst>
      <p:ext uri="{BB962C8B-B14F-4D97-AF65-F5344CB8AC3E}">
        <p14:creationId xmlns:p14="http://schemas.microsoft.com/office/powerpoint/2010/main" val="319400118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제목만">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en-US"/>
          </a:p>
        </p:txBody>
      </p:sp>
      <p:pic>
        <p:nvPicPr>
          <p:cNvPr id="3"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61769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034638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pic>
        <p:nvPicPr>
          <p:cNvPr id="2" name="Picture 2" descr="\\211.47.134.14\2014\Microsoft\0924_techdays korea 2014_구예진 B\로고\techday logo- gray 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78586" y="99421"/>
            <a:ext cx="1929777" cy="1069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6692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599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5080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9971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1"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dirty="0"/>
          </a:p>
        </p:txBody>
      </p:sp>
    </p:spTree>
    <p:extLst>
      <p:ext uri="{BB962C8B-B14F-4D97-AF65-F5344CB8AC3E}">
        <p14:creationId xmlns:p14="http://schemas.microsoft.com/office/powerpoint/2010/main" val="404528909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ltLang="ko-KR" smtClean="0"/>
              <a:t>Click to edit Master title style</a:t>
            </a:r>
            <a:endParaRPr lang="en-US" dirty="0"/>
          </a:p>
        </p:txBody>
      </p:sp>
      <p:pic>
        <p:nvPicPr>
          <p:cNvPr id="3074" name="Picture 2" descr="\\211.47.134.14\2014\Microsoft\0924_techdays korea 2014_구예진 B\로고\techday logo - white Ve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47692" y="82030"/>
            <a:ext cx="2069541" cy="1152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4552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ltLang="ko-KR" smtClean="0"/>
              <a:t>Click to edit Master title style</a:t>
            </a:r>
            <a:endParaRPr lang="ko-KR" alt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ko-KR" smtClean="0"/>
              <a:t>Click to edit Master subtitle style</a:t>
            </a:r>
            <a:endParaRPr lang="ko-KR" alt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fld id="{0E95E16D-752B-4FAA-8ADB-610870E68D02}" type="datetimeFigureOut">
              <a:rPr kumimoji="0" lang="ko-KR" alt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1" hangingPunct="1">
                <a:lnSpc>
                  <a:spcPct val="100000"/>
                </a:lnSpc>
                <a:spcBef>
                  <a:spcPts val="0"/>
                </a:spcBef>
                <a:spcAft>
                  <a:spcPts val="0"/>
                </a:spcAft>
                <a:buClrTx/>
                <a:buSzTx/>
                <a:buFontTx/>
                <a:buNone/>
                <a:tabLst/>
                <a:defRPr/>
              </a:pPr>
              <a:t>2016-05-10</a:t>
            </a:fld>
            <a:endParaRPr kumimoji="0" lang="ko-KR" alt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fld id="{B194E7E1-DA4E-4185-BB25-F602B56F5F48}" type="slidenum">
              <a:rPr kumimoji="0" lang="ko-KR" alt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1" hangingPunct="1">
                <a:lnSpc>
                  <a:spcPct val="100000"/>
                </a:lnSpc>
                <a:spcBef>
                  <a:spcPts val="0"/>
                </a:spcBef>
                <a:spcAft>
                  <a:spcPts val="0"/>
                </a:spcAft>
                <a:buClrTx/>
                <a:buSzTx/>
                <a:buFontTx/>
                <a:buNone/>
                <a:tabLst/>
                <a:defRPr/>
              </a:pPr>
              <a:t>‹#›</a:t>
            </a:fld>
            <a:endParaRPr kumimoji="0" lang="ko-KR" alt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14661731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Slide Photo">
    <p:bg>
      <p:bgPr>
        <a:solidFill>
          <a:srgbClr val="00B29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29545" y="0"/>
            <a:ext cx="6762455" cy="6858914"/>
          </a:xfrm>
          <a:prstGeom prst="rect">
            <a:avLst/>
          </a:prstGeom>
        </p:spPr>
      </p:pic>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430972" y="5060911"/>
            <a:ext cx="1196593" cy="436750"/>
          </a:xfrm>
          <a:prstGeom prst="rect">
            <a:avLst/>
          </a:prstGeom>
        </p:spPr>
      </p:pic>
      <p:pic>
        <p:nvPicPr>
          <p:cNvPr id="19" name="Picture 18"/>
          <p:cNvPicPr>
            <a:picLocks noChangeAspect="1"/>
          </p:cNvPicPr>
          <p:nvPr userDrawn="1"/>
        </p:nvPicPr>
        <p:blipFill>
          <a:blip r:embed="rId4" cstate="print">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5915750" y="2140145"/>
            <a:ext cx="733926" cy="861876"/>
          </a:xfrm>
          <a:prstGeom prst="rect">
            <a:avLst/>
          </a:prstGeom>
        </p:spPr>
      </p:pic>
      <p:grpSp>
        <p:nvGrpSpPr>
          <p:cNvPr id="20" name="Group 19"/>
          <p:cNvGrpSpPr/>
          <p:nvPr userDrawn="1"/>
        </p:nvGrpSpPr>
        <p:grpSpPr>
          <a:xfrm>
            <a:off x="7031306" y="4681987"/>
            <a:ext cx="590250" cy="690610"/>
            <a:chOff x="1502342" y="238442"/>
            <a:chExt cx="1596433" cy="1867608"/>
          </a:xfrm>
          <a:solidFill>
            <a:schemeClr val="bg1"/>
          </a:solidFill>
        </p:grpSpPr>
        <p:sp>
          <p:nvSpPr>
            <p:cNvPr id="21"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5" name="Picture 24"/>
          <p:cNvPicPr>
            <a:picLocks noChangeAspect="1"/>
          </p:cNvPicPr>
          <p:nvPr userDrawn="1"/>
        </p:nvPicPr>
        <p:blipFill>
          <a:blip r:embed="rId6" cstate="print">
            <a:lum bright="70000" contrast="-70000"/>
            <a:extLst>
              <a:ext uri="{28A0092B-C50C-407E-A947-70E740481C1C}">
                <a14:useLocalDpi xmlns:a14="http://schemas.microsoft.com/office/drawing/2010/main" val="0"/>
              </a:ext>
            </a:extLst>
          </a:blip>
          <a:stretch>
            <a:fillRect/>
          </a:stretch>
        </p:blipFill>
        <p:spPr>
          <a:xfrm>
            <a:off x="11361314" y="2490367"/>
            <a:ext cx="448668" cy="549106"/>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16" name="Freeform 1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32811" y="316985"/>
            <a:ext cx="544787" cy="785218"/>
          </a:xfrm>
          <a:prstGeom prst="rect">
            <a:avLst/>
          </a:prstGeom>
        </p:spPr>
      </p:pic>
      <p:pic>
        <p:nvPicPr>
          <p:cNvPr id="18"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9781445" y="191674"/>
            <a:ext cx="631571" cy="631660"/>
          </a:xfrm>
          <a:prstGeom prst="rect">
            <a:avLst/>
          </a:prstGeom>
          <a:noFill/>
          <a:ln>
            <a:noFill/>
          </a:ln>
          <a:extLst/>
        </p:spPr>
      </p:pic>
      <p:pic>
        <p:nvPicPr>
          <p:cNvPr id="28" name="Picture 2" descr="http://upload.wikimedia.org/wikipedia/commons/thumb/2/27/PHP-logo.svg/1000px-PHP-logo.svg.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5915749" y="3156641"/>
            <a:ext cx="758444" cy="401975"/>
          </a:xfrm>
          <a:prstGeom prst="rect">
            <a:avLst/>
          </a:prstGeom>
          <a:noFill/>
          <a:extLst/>
        </p:spPr>
      </p:pic>
      <p:pic>
        <p:nvPicPr>
          <p:cNvPr id="31" name="Picture 2">
            <a:hlinkClick r:id="rId11"/>
          </p:cNvPr>
          <p:cNvPicPr>
            <a:picLocks noChangeAspect="1" noChangeArrowheads="1"/>
          </p:cNvPicPr>
          <p:nvPr/>
        </p:nvPicPr>
        <p:blipFill>
          <a:blip r:embed="rId12" cstate="print">
            <a:biLevel thresh="25000"/>
            <a:extLst>
              <a:ext uri="{28A0092B-C50C-407E-A947-70E740481C1C}">
                <a14:useLocalDpi xmlns:a14="http://schemas.microsoft.com/office/drawing/2010/main" val="0"/>
              </a:ext>
            </a:extLst>
          </a:blip>
          <a:stretch>
            <a:fillRect/>
          </a:stretch>
        </p:blipFill>
        <p:spPr bwMode="auto">
          <a:xfrm>
            <a:off x="6072009" y="611584"/>
            <a:ext cx="1441603" cy="493344"/>
          </a:xfrm>
          <a:prstGeom prst="rect">
            <a:avLst/>
          </a:prstGeom>
          <a:noFill/>
          <a:extLst/>
        </p:spPr>
      </p:pic>
      <p:pic>
        <p:nvPicPr>
          <p:cNvPr id="34" name="Picture 2" descr="C:\Users\claudette\Documents\2011 Jobs\Kelly Young\02-Crystal\graphics\java.png"/>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11274685" y="3324443"/>
            <a:ext cx="469103" cy="862878"/>
          </a:xfrm>
          <a:prstGeom prst="rect">
            <a:avLst/>
          </a:prstGeom>
          <a:noFill/>
          <a:extLst/>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626216" y="252799"/>
            <a:ext cx="1774792" cy="408332"/>
          </a:xfrm>
          <a:prstGeom prst="rect">
            <a:avLst/>
          </a:prstGeom>
        </p:spPr>
      </p:pic>
    </p:spTree>
    <p:extLst>
      <p:ext uri="{BB962C8B-B14F-4D97-AF65-F5344CB8AC3E}">
        <p14:creationId xmlns:p14="http://schemas.microsoft.com/office/powerpoint/2010/main" val="3042866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301929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5083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9832097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1_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smtClean="0"/>
              <a:t>마스터 제목 스타일 편집</a:t>
            </a:r>
            <a:endParaRPr lang="ko-KR" altLang="en-US"/>
          </a:p>
        </p:txBody>
      </p:sp>
      <p:sp>
        <p:nvSpPr>
          <p:cNvPr id="3" name="Content Placeholder 2"/>
          <p:cNvSpPr>
            <a:spLocks noGrp="1"/>
          </p:cNvSpPr>
          <p:nvPr>
            <p:ph idx="1"/>
          </p:nvPr>
        </p:nvSpPr>
        <p:spPr/>
        <p:txBody>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8" name="Text Placeholder 7"/>
          <p:cNvSpPr>
            <a:spLocks noGrp="1"/>
          </p:cNvSpPr>
          <p:nvPr>
            <p:ph type="body" sz="quarter" idx="10"/>
          </p:nvPr>
        </p:nvSpPr>
        <p:spPr>
          <a:xfrm>
            <a:off x="312418" y="783773"/>
            <a:ext cx="11567160" cy="429208"/>
          </a:xfrm>
        </p:spPr>
        <p:txBody>
          <a:bodyPr vert="horz" lIns="91440" tIns="45720" rIns="91440" bIns="45720" rtlCol="0" anchor="ctr">
            <a:normAutofit/>
          </a:bodyPr>
          <a:lstStyle>
            <a:lvl1pPr marL="0" indent="0">
              <a:buNone/>
              <a:defRPr lang="ko-KR" altLang="en-US" sz="1800" b="0" baseline="0" dirty="0">
                <a:latin typeface="+mn-lt"/>
                <a:ea typeface="+mn-ea"/>
                <a:cs typeface="+mj-cs"/>
              </a:defRPr>
            </a:lvl1pPr>
          </a:lstStyle>
          <a:p>
            <a:pPr lvl="0">
              <a:spcBef>
                <a:spcPct val="0"/>
              </a:spcBef>
            </a:pPr>
            <a:r>
              <a:rPr lang="ko-KR" altLang="en-US" smtClean="0"/>
              <a:t>마스터 텍스트 스타일을 편집합니다</a:t>
            </a:r>
          </a:p>
        </p:txBody>
      </p:sp>
    </p:spTree>
    <p:extLst>
      <p:ext uri="{BB962C8B-B14F-4D97-AF65-F5344CB8AC3E}">
        <p14:creationId xmlns:p14="http://schemas.microsoft.com/office/powerpoint/2010/main" val="181592785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구역 머리글">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97464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FEFEF"/>
              </a:solidFill>
              <a:effectLst/>
              <a:uLnTx/>
              <a:uFillTx/>
              <a:latin typeface="Segoe UI"/>
              <a:ea typeface="+mn-ea"/>
              <a:cs typeface="+mn-cs"/>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49" normalizeH="0" baseline="0" noProof="0" smtClean="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52967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15225"/>
          <a:stretch/>
        </p:blipFill>
        <p:spPr>
          <a:xfrm flipH="1">
            <a:off x="6" y="0"/>
            <a:ext cx="12192000" cy="688522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20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5" y="938794"/>
            <a:ext cx="6900421"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089524"/>
            <a:ext cx="6313281" cy="1329595"/>
          </a:xfrm>
          <a:prstGeom prst="rect">
            <a:avLst/>
          </a:prstGeom>
        </p:spPr>
        <p:txBody>
          <a:bodyPr wrap="square" lIns="149143" tIns="0" rIns="149143" bIns="0" anchor="t">
            <a:spAutoFit/>
          </a:bodyPr>
          <a:lstStyle>
            <a:lvl1pPr>
              <a:lnSpc>
                <a:spcPct val="90000"/>
              </a:lnSpc>
              <a:spcBef>
                <a:spcPts val="0"/>
              </a:spcBef>
              <a:defRPr sz="4803"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5" y="3545815"/>
            <a:ext cx="6152293" cy="1034783"/>
          </a:xfrm>
          <a:prstGeom prst="rect">
            <a:avLst/>
          </a:prstGeom>
        </p:spPr>
        <p:txBody>
          <a:bodyPr lIns="149143" tIns="0" rIns="149143" bIns="0">
            <a:normAutofit/>
          </a:bodyPr>
          <a:lstStyle>
            <a:lvl1pPr marL="0" indent="0" algn="l">
              <a:lnSpc>
                <a:spcPct val="90000"/>
              </a:lnSpc>
              <a:spcBef>
                <a:spcPts val="0"/>
              </a:spcBef>
              <a:buNone/>
              <a:defRPr sz="1961">
                <a:solidFill>
                  <a:schemeClr val="bg1"/>
                </a:solidFill>
                <a:latin typeface="+mn-lt"/>
              </a:defRPr>
            </a:lvl1pPr>
            <a:lvl2pPr marL="447789" indent="0" algn="ctr">
              <a:buNone/>
              <a:defRPr>
                <a:solidFill>
                  <a:schemeClr val="tx1">
                    <a:tint val="75000"/>
                  </a:schemeClr>
                </a:solidFill>
              </a:defRPr>
            </a:lvl2pPr>
            <a:lvl3pPr marL="895581" indent="0" algn="ctr">
              <a:buNone/>
              <a:defRPr>
                <a:solidFill>
                  <a:schemeClr val="tx1">
                    <a:tint val="75000"/>
                  </a:schemeClr>
                </a:solidFill>
              </a:defRPr>
            </a:lvl3pPr>
            <a:lvl4pPr marL="1343372" indent="0" algn="ctr">
              <a:buNone/>
              <a:defRPr>
                <a:solidFill>
                  <a:schemeClr val="tx1">
                    <a:tint val="75000"/>
                  </a:schemeClr>
                </a:solidFill>
              </a:defRPr>
            </a:lvl4pPr>
            <a:lvl5pPr marL="1791164" indent="0" algn="ctr">
              <a:buNone/>
              <a:defRPr>
                <a:solidFill>
                  <a:schemeClr val="tx1">
                    <a:tint val="75000"/>
                  </a:schemeClr>
                </a:solidFill>
              </a:defRPr>
            </a:lvl5pPr>
            <a:lvl6pPr marL="2238952" indent="0" algn="ctr">
              <a:buNone/>
              <a:defRPr>
                <a:solidFill>
                  <a:schemeClr val="tx1">
                    <a:tint val="75000"/>
                  </a:schemeClr>
                </a:solidFill>
              </a:defRPr>
            </a:lvl6pPr>
            <a:lvl7pPr marL="2686743" indent="0" algn="ctr">
              <a:buNone/>
              <a:defRPr>
                <a:solidFill>
                  <a:schemeClr val="tx1">
                    <a:tint val="75000"/>
                  </a:schemeClr>
                </a:solidFill>
              </a:defRPr>
            </a:lvl7pPr>
            <a:lvl8pPr marL="3134533" indent="0" algn="ctr">
              <a:buNone/>
              <a:defRPr>
                <a:solidFill>
                  <a:schemeClr val="tx1">
                    <a:tint val="75000"/>
                  </a:schemeClr>
                </a:solidFill>
              </a:defRPr>
            </a:lvl8pPr>
            <a:lvl9pPr marL="3582322"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79" y="2492991"/>
            <a:ext cx="6329720" cy="863867"/>
          </a:xfrm>
          <a:prstGeom prst="rect">
            <a:avLst/>
          </a:prstGeom>
        </p:spPr>
        <p:txBody>
          <a:bodyPr lIns="149143" tIns="0" rIns="149143" bIns="0">
            <a:normAutofit/>
          </a:bodyPr>
          <a:lstStyle>
            <a:lvl1pPr marL="0" indent="0">
              <a:lnSpc>
                <a:spcPct val="90000"/>
              </a:lnSpc>
              <a:spcBef>
                <a:spcPts val="0"/>
              </a:spcBef>
              <a:buNone/>
              <a:defRPr sz="1961" baseline="0">
                <a:solidFill>
                  <a:schemeClr val="bg1"/>
                </a:solidFill>
                <a:latin typeface="+mn-lt"/>
              </a:defRPr>
            </a:lvl1pPr>
            <a:lvl2pPr marL="335842" indent="0">
              <a:buNone/>
              <a:defRPr sz="1568">
                <a:solidFill>
                  <a:schemeClr val="bg1"/>
                </a:solidFill>
                <a:latin typeface="+mj-lt"/>
              </a:defRPr>
            </a:lvl2pPr>
            <a:lvl3pPr marL="559739" indent="0">
              <a:buNone/>
              <a:defRPr sz="1274">
                <a:solidFill>
                  <a:schemeClr val="bg1"/>
                </a:solidFill>
                <a:latin typeface="+mj-lt"/>
              </a:defRPr>
            </a:lvl3pPr>
            <a:lvl4pPr marL="783634" indent="0">
              <a:buNone/>
              <a:defRPr sz="1176">
                <a:solidFill>
                  <a:schemeClr val="bg1"/>
                </a:solidFill>
                <a:latin typeface="+mj-lt"/>
              </a:defRPr>
            </a:lvl4pPr>
            <a:lvl5pPr marL="1007527" indent="0">
              <a:buNone/>
              <a:defRPr sz="1176">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20498292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2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IOYT Image 1.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6" y="6"/>
            <a:ext cx="12192000" cy="692458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30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1" y="2584566"/>
            <a:ext cx="7956223" cy="3818020"/>
          </a:xfrm>
          <a:prstGeom prst="rect">
            <a:avLst/>
          </a:prstGeom>
          <a:solidFill>
            <a:srgbClr val="00188F">
              <a:alpha val="8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2735294"/>
            <a:ext cx="7272318" cy="1329595"/>
          </a:xfrm>
          <a:prstGeom prst="rect">
            <a:avLst/>
          </a:prstGeom>
        </p:spPr>
        <p:txBody>
          <a:bodyPr wrap="square" lIns="149143" tIns="0" rIns="149143" bIns="0" anchor="t">
            <a:spAutoFit/>
          </a:bodyPr>
          <a:lstStyle>
            <a:lvl1pPr>
              <a:lnSpc>
                <a:spcPct val="90000"/>
              </a:lnSpc>
              <a:spcBef>
                <a:spcPts val="0"/>
              </a:spcBef>
              <a:defRPr sz="4803"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5" y="5191587"/>
            <a:ext cx="6152293" cy="1034783"/>
          </a:xfrm>
          <a:prstGeom prst="rect">
            <a:avLst/>
          </a:prstGeom>
        </p:spPr>
        <p:txBody>
          <a:bodyPr lIns="149143" tIns="0" rIns="149143" bIns="0">
            <a:normAutofit/>
          </a:bodyPr>
          <a:lstStyle>
            <a:lvl1pPr marL="0" indent="0" algn="l">
              <a:lnSpc>
                <a:spcPct val="90000"/>
              </a:lnSpc>
              <a:spcBef>
                <a:spcPts val="0"/>
              </a:spcBef>
              <a:buNone/>
              <a:defRPr sz="1961">
                <a:solidFill>
                  <a:schemeClr val="bg1"/>
                </a:solidFill>
                <a:latin typeface="+mn-lt"/>
              </a:defRPr>
            </a:lvl1pPr>
            <a:lvl2pPr marL="447789" indent="0" algn="ctr">
              <a:buNone/>
              <a:defRPr>
                <a:solidFill>
                  <a:schemeClr val="tx1">
                    <a:tint val="75000"/>
                  </a:schemeClr>
                </a:solidFill>
              </a:defRPr>
            </a:lvl2pPr>
            <a:lvl3pPr marL="895581" indent="0" algn="ctr">
              <a:buNone/>
              <a:defRPr>
                <a:solidFill>
                  <a:schemeClr val="tx1">
                    <a:tint val="75000"/>
                  </a:schemeClr>
                </a:solidFill>
              </a:defRPr>
            </a:lvl3pPr>
            <a:lvl4pPr marL="1343372" indent="0" algn="ctr">
              <a:buNone/>
              <a:defRPr>
                <a:solidFill>
                  <a:schemeClr val="tx1">
                    <a:tint val="75000"/>
                  </a:schemeClr>
                </a:solidFill>
              </a:defRPr>
            </a:lvl4pPr>
            <a:lvl5pPr marL="1791164" indent="0" algn="ctr">
              <a:buNone/>
              <a:defRPr>
                <a:solidFill>
                  <a:schemeClr val="tx1">
                    <a:tint val="75000"/>
                  </a:schemeClr>
                </a:solidFill>
              </a:defRPr>
            </a:lvl5pPr>
            <a:lvl6pPr marL="2238952" indent="0" algn="ctr">
              <a:buNone/>
              <a:defRPr>
                <a:solidFill>
                  <a:schemeClr val="tx1">
                    <a:tint val="75000"/>
                  </a:schemeClr>
                </a:solidFill>
              </a:defRPr>
            </a:lvl6pPr>
            <a:lvl7pPr marL="2686743" indent="0" algn="ctr">
              <a:buNone/>
              <a:defRPr>
                <a:solidFill>
                  <a:schemeClr val="tx1">
                    <a:tint val="75000"/>
                  </a:schemeClr>
                </a:solidFill>
              </a:defRPr>
            </a:lvl7pPr>
            <a:lvl8pPr marL="3134533" indent="0" algn="ctr">
              <a:buNone/>
              <a:defRPr>
                <a:solidFill>
                  <a:schemeClr val="tx1">
                    <a:tint val="75000"/>
                  </a:schemeClr>
                </a:solidFill>
              </a:defRPr>
            </a:lvl8pPr>
            <a:lvl9pPr marL="3582322"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5" y="4138763"/>
            <a:ext cx="7291254" cy="863867"/>
          </a:xfrm>
          <a:prstGeom prst="rect">
            <a:avLst/>
          </a:prstGeom>
        </p:spPr>
        <p:txBody>
          <a:bodyPr lIns="149143" tIns="0" rIns="149143" bIns="0">
            <a:normAutofit/>
          </a:bodyPr>
          <a:lstStyle>
            <a:lvl1pPr marL="0" indent="0">
              <a:lnSpc>
                <a:spcPct val="90000"/>
              </a:lnSpc>
              <a:spcBef>
                <a:spcPts val="0"/>
              </a:spcBef>
              <a:buNone/>
              <a:defRPr sz="1961" baseline="0">
                <a:solidFill>
                  <a:schemeClr val="bg1"/>
                </a:solidFill>
                <a:latin typeface="+mn-lt"/>
              </a:defRPr>
            </a:lvl1pPr>
            <a:lvl2pPr marL="335842" indent="0">
              <a:buNone/>
              <a:defRPr sz="1568">
                <a:solidFill>
                  <a:schemeClr val="bg1"/>
                </a:solidFill>
                <a:latin typeface="+mj-lt"/>
              </a:defRPr>
            </a:lvl2pPr>
            <a:lvl3pPr marL="559739" indent="0">
              <a:buNone/>
              <a:defRPr sz="1274">
                <a:solidFill>
                  <a:schemeClr val="bg1"/>
                </a:solidFill>
                <a:latin typeface="+mj-lt"/>
              </a:defRPr>
            </a:lvl3pPr>
            <a:lvl4pPr marL="783634" indent="0">
              <a:buNone/>
              <a:defRPr sz="1176">
                <a:solidFill>
                  <a:schemeClr val="bg1"/>
                </a:solidFill>
                <a:latin typeface="+mj-lt"/>
              </a:defRPr>
            </a:lvl4pPr>
            <a:lvl5pPr marL="1007527" indent="0">
              <a:buNone/>
              <a:defRPr sz="1176">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30641854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
            <a:ext cx="12190413" cy="6858001"/>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41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0" y="548376"/>
            <a:ext cx="7956223" cy="3818020"/>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543283"/>
            <a:ext cx="7272318"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767419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3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15225"/>
          <a:stretch/>
        </p:blipFill>
        <p:spPr>
          <a:xfrm flipH="1">
            <a:off x="6" y="0"/>
            <a:ext cx="12192000" cy="688522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51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5" y="889512"/>
            <a:ext cx="6900421"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884419"/>
            <a:ext cx="6313281"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1456450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6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STB13_WindFarm_05.png"/>
          <p:cNvPicPr>
            <a:picLocks noChangeAspect="1"/>
          </p:cNvPicPr>
          <p:nvPr/>
        </p:nvPicPr>
        <p:blipFill rotWithShape="1">
          <a:blip r:embed="rId4" cstate="email">
            <a:extLst>
              <a:ext uri="{28A0092B-C50C-407E-A947-70E740481C1C}">
                <a14:useLocalDpi xmlns:a14="http://schemas.microsoft.com/office/drawing/2010/main" val="0"/>
              </a:ext>
            </a:extLst>
          </a:blip>
          <a:srcRect t="15560"/>
          <a:stretch/>
        </p:blipFill>
        <p:spPr>
          <a:xfrm flipH="1">
            <a:off x="6" y="0"/>
            <a:ext cx="12192000" cy="6858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61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0" y="499087"/>
            <a:ext cx="7956223"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494002"/>
            <a:ext cx="7272318"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3494608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4_PresentationTitle_">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t="15560"/>
          <a:stretch/>
        </p:blipFill>
        <p:spPr>
          <a:xfrm>
            <a:off x="6" y="0"/>
            <a:ext cx="12192000" cy="6858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71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0" y="524939"/>
            <a:ext cx="7956223"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1519860"/>
            <a:ext cx="7272318"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13764113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139" t="18869" r="6186" b="3476"/>
          <a:stretch/>
        </p:blipFill>
        <p:spPr>
          <a:xfrm>
            <a:off x="1" y="0"/>
            <a:ext cx="12191999" cy="6879668"/>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82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7" y="2290098"/>
            <a:ext cx="6975835"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7" y="3368112"/>
            <a:ext cx="6152365" cy="1661993"/>
          </a:xfrm>
          <a:prstGeom prst="rect">
            <a:avLst/>
          </a:prstGeom>
        </p:spPr>
        <p:txBody>
          <a:bodyPr wrap="square" lIns="149143" tIns="0" rIns="149143" bIns="0" anchor="ctr" anchorCtr="0">
            <a:spAutoFit/>
          </a:bodyPr>
          <a:lstStyle>
            <a:lvl1pPr>
              <a:lnSpc>
                <a:spcPct val="90000"/>
              </a:lnSpc>
              <a:spcBef>
                <a:spcPts val="0"/>
              </a:spcBef>
              <a:defRPr sz="5980"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23449926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1_PresentationTitle_Manufacturing1">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5534" t="14732" r="1686" b="6521"/>
          <a:stretch/>
        </p:blipFill>
        <p:spPr>
          <a:xfrm>
            <a:off x="6" y="5310"/>
            <a:ext cx="12192000" cy="6861534"/>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92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sp>
        <p:nvSpPr>
          <p:cNvPr id="9" name="Rectangle 8"/>
          <p:cNvSpPr/>
          <p:nvPr/>
        </p:nvSpPr>
        <p:spPr bwMode="auto">
          <a:xfrm>
            <a:off x="-18853" y="2698161"/>
            <a:ext cx="7956223" cy="38180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1" rIns="179141" bIns="143311" numCol="1" spcCol="0" rtlCol="0" fromWordArt="0" anchor="t" anchorCtr="0" forceAA="0" compatLnSpc="1">
            <a:prstTxWarp prst="textNoShape">
              <a:avLst/>
            </a:prstTxWarp>
            <a:noAutofit/>
          </a:bodyPr>
          <a:lstStyle/>
          <a:p>
            <a:pPr marL="0" marR="0" lvl="0" indent="0" algn="ctr" defTabSz="91328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57206" y="3693082"/>
            <a:ext cx="7291634" cy="1828193"/>
          </a:xfrm>
          <a:prstGeom prst="rect">
            <a:avLst/>
          </a:prstGeom>
        </p:spPr>
        <p:txBody>
          <a:bodyPr wrap="square" lIns="149143" tIns="0" rIns="149143" bIns="0" anchor="ctr" anchorCtr="0">
            <a:spAutoFit/>
          </a:bodyPr>
          <a:lstStyle>
            <a:lvl1pPr>
              <a:lnSpc>
                <a:spcPct val="90000"/>
              </a:lnSpc>
              <a:spcBef>
                <a:spcPts val="0"/>
              </a:spcBef>
              <a:defRPr sz="6568"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9" y="6402586"/>
            <a:ext cx="1278487" cy="280187"/>
          </a:xfrm>
          <a:prstGeom prst="rect">
            <a:avLst/>
          </a:prstGeom>
        </p:spPr>
      </p:pic>
    </p:spTree>
    <p:extLst>
      <p:ext uri="{BB962C8B-B14F-4D97-AF65-F5344CB8AC3E}">
        <p14:creationId xmlns:p14="http://schemas.microsoft.com/office/powerpoint/2010/main" val="53511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102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64" y="1559"/>
                        <a:ext cx="1556" cy="1556"/>
                      </a:xfrm>
                      <a:prstGeom prst="rect">
                        <a:avLst/>
                      </a:prstGeom>
                    </p:spPr>
                  </p:pic>
                </p:oleObj>
              </mc:Fallback>
            </mc:AlternateContent>
          </a:graphicData>
        </a:graphic>
      </p:graphicFrame>
      <p:graphicFrame>
        <p:nvGraphicFramePr>
          <p:cNvPr id="3" name="Object 2" hidden="1"/>
          <p:cNvGraphicFramePr>
            <a:graphicFrameLocks noChangeAspect="1"/>
          </p:cNvGraphicFramePr>
          <p:nvPr>
            <p:custDataLst>
              <p:tags r:id="rId3"/>
            </p:custDataLst>
            <p:extLst/>
          </p:nvPr>
        </p:nvGraphicFramePr>
        <p:xfrm>
          <a:off x="1563" y="1558"/>
          <a:ext cx="1556" cy="1556"/>
        </p:xfrm>
        <a:graphic>
          <a:graphicData uri="http://schemas.openxmlformats.org/presentationml/2006/ole">
            <mc:AlternateContent xmlns:mc="http://schemas.openxmlformats.org/markup-compatibility/2006">
              <mc:Choice xmlns:v="urn:schemas-microsoft-com:vml" Requires="v">
                <p:oleObj spid="_x0000_s10281"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6"/>
                      <a:stretch>
                        <a:fillRect/>
                      </a:stretch>
                    </p:blipFill>
                    <p:spPr>
                      <a:xfrm>
                        <a:off x="1563"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16611070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8"/>
            <a:ext cx="7393324" cy="1588127"/>
          </a:xfrm>
        </p:spPr>
        <p:txBody>
          <a:bodyPr rIns="93214"/>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765"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580"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580" rtl="0" eaLnBrk="1" latinLnBrk="0" hangingPunct="1">
              <a:lnSpc>
                <a:spcPct val="90000"/>
              </a:lnSpc>
              <a:spcBef>
                <a:spcPct val="20000"/>
              </a:spcBef>
              <a:buSzPct val="90000"/>
              <a:buFont typeface="Arial" pitchFamily="34" charset="0"/>
              <a:buNone/>
            </a:pPr>
            <a:r>
              <a:rPr lang="en-US" smtClean="0"/>
              <a:t>Second level</a:t>
            </a:r>
          </a:p>
          <a:p>
            <a:pPr marL="0" lvl="2" indent="0" algn="l" defTabSz="685580" rtl="0" eaLnBrk="1" latinLnBrk="0" hangingPunct="1">
              <a:lnSpc>
                <a:spcPct val="90000"/>
              </a:lnSpc>
              <a:spcBef>
                <a:spcPct val="20000"/>
              </a:spcBef>
              <a:buSzPct val="90000"/>
              <a:buFont typeface="Arial" pitchFamily="34" charset="0"/>
              <a:buNone/>
            </a:pPr>
            <a:r>
              <a:rPr lang="en-US" smtClean="0"/>
              <a:t>Third level</a:t>
            </a:r>
          </a:p>
          <a:p>
            <a:pPr marL="0" lvl="3" indent="0" algn="l" defTabSz="685580" rtl="0" eaLnBrk="1" latinLnBrk="0" hangingPunct="1">
              <a:lnSpc>
                <a:spcPct val="90000"/>
              </a:lnSpc>
              <a:spcBef>
                <a:spcPct val="20000"/>
              </a:spcBef>
              <a:buSzPct val="90000"/>
              <a:buFont typeface="Arial" pitchFamily="34" charset="0"/>
              <a:buNone/>
            </a:pPr>
            <a:r>
              <a:rPr lang="en-US" smtClean="0"/>
              <a:t>Fourth level</a:t>
            </a:r>
          </a:p>
          <a:p>
            <a:pPr marL="0" lvl="4" indent="0" algn="l" defTabSz="685580"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32" y="193811"/>
            <a:ext cx="7404441" cy="678980"/>
          </a:xfr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401389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747453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5" y="228605"/>
            <a:ext cx="11151917" cy="661720"/>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873359968"/>
      </p:ext>
    </p:extLst>
  </p:cSld>
  <p:clrMapOvr>
    <a:masterClrMapping/>
  </p:clrMapOvr>
  <p:transition spd="med">
    <p:push dir="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with Sub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9" y="173755"/>
            <a:ext cx="11290165" cy="663708"/>
          </a:xfrm>
          <a:prstGeom prst="rect">
            <a:avLst/>
          </a:prstGeom>
        </p:spPr>
        <p:txBody>
          <a:bodyPr/>
          <a:lstStyle/>
          <a:p>
            <a:r>
              <a:rPr lang="en-US" dirty="0" smtClean="0"/>
              <a:t>Title and content</a:t>
            </a:r>
            <a:endParaRPr lang="en-US" dirty="0"/>
          </a:p>
        </p:txBody>
      </p:sp>
      <p:sp>
        <p:nvSpPr>
          <p:cNvPr id="10" name="Text Placeholder 9"/>
          <p:cNvSpPr>
            <a:spLocks noGrp="1"/>
          </p:cNvSpPr>
          <p:nvPr>
            <p:ph type="body" sz="quarter" idx="11"/>
          </p:nvPr>
        </p:nvSpPr>
        <p:spPr>
          <a:xfrm>
            <a:off x="381000" y="782638"/>
            <a:ext cx="11290300" cy="424732"/>
          </a:xfrm>
        </p:spPr>
        <p:txBody>
          <a:bodyPr/>
          <a:lstStyle>
            <a:lvl1pPr>
              <a:defRPr sz="2353">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7003696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14225"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09"/>
            <a:ext cx="11234738" cy="1834338"/>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526328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7_PresentationTitle_Manufacturing1">
    <p:bg>
      <p:bgPr>
        <a:solidFill>
          <a:schemeClr val="bg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457202" y="699107"/>
            <a:ext cx="7272318"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2" y="3155392"/>
            <a:ext cx="6152293" cy="581698"/>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877" indent="0" algn="ctr">
              <a:buNone/>
              <a:defRPr>
                <a:solidFill>
                  <a:schemeClr val="tx1">
                    <a:tint val="75000"/>
                  </a:schemeClr>
                </a:solidFill>
              </a:defRPr>
            </a:lvl2pPr>
            <a:lvl3pPr marL="895756" indent="0" algn="ctr">
              <a:buNone/>
              <a:defRPr>
                <a:solidFill>
                  <a:schemeClr val="tx1">
                    <a:tint val="75000"/>
                  </a:schemeClr>
                </a:solidFill>
              </a:defRPr>
            </a:lvl3pPr>
            <a:lvl4pPr marL="1343633" indent="0" algn="ctr">
              <a:buNone/>
              <a:defRPr>
                <a:solidFill>
                  <a:schemeClr val="tx1">
                    <a:tint val="75000"/>
                  </a:schemeClr>
                </a:solidFill>
              </a:defRPr>
            </a:lvl4pPr>
            <a:lvl5pPr marL="1791514" indent="0" algn="ctr">
              <a:buNone/>
              <a:defRPr>
                <a:solidFill>
                  <a:schemeClr val="tx1">
                    <a:tint val="75000"/>
                  </a:schemeClr>
                </a:solidFill>
              </a:defRPr>
            </a:lvl5pPr>
            <a:lvl6pPr marL="2239390" indent="0" algn="ctr">
              <a:buNone/>
              <a:defRPr>
                <a:solidFill>
                  <a:schemeClr val="tx1">
                    <a:tint val="75000"/>
                  </a:schemeClr>
                </a:solidFill>
              </a:defRPr>
            </a:lvl6pPr>
            <a:lvl7pPr marL="2687269" indent="0" algn="ctr">
              <a:buNone/>
              <a:defRPr>
                <a:solidFill>
                  <a:schemeClr val="tx1">
                    <a:tint val="75000"/>
                  </a:schemeClr>
                </a:solidFill>
              </a:defRPr>
            </a:lvl7pPr>
            <a:lvl8pPr marL="3135146" indent="0" algn="ctr">
              <a:buNone/>
              <a:defRPr>
                <a:solidFill>
                  <a:schemeClr val="tx1">
                    <a:tint val="75000"/>
                  </a:schemeClr>
                </a:solidFill>
              </a:defRPr>
            </a:lvl8pPr>
            <a:lvl9pPr marL="35830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1" y="2102567"/>
            <a:ext cx="7291254"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09" indent="0">
              <a:buNone/>
              <a:defRPr sz="1600">
                <a:solidFill>
                  <a:schemeClr val="bg1"/>
                </a:solidFill>
                <a:latin typeface="+mj-lt"/>
              </a:defRPr>
            </a:lvl2pPr>
            <a:lvl3pPr marL="559848" indent="0">
              <a:buNone/>
              <a:defRPr sz="1300">
                <a:solidFill>
                  <a:schemeClr val="bg1"/>
                </a:solidFill>
                <a:latin typeface="+mj-lt"/>
              </a:defRPr>
            </a:lvl3pPr>
            <a:lvl4pPr marL="783786" indent="0">
              <a:buNone/>
              <a:defRPr sz="1200">
                <a:solidFill>
                  <a:schemeClr val="bg1"/>
                </a:solidFill>
                <a:latin typeface="+mj-lt"/>
              </a:defRPr>
            </a:lvl4pPr>
            <a:lvl5pPr marL="1007726"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2858173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BLUE | S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06706" y="-158097"/>
            <a:ext cx="6464464" cy="1327415"/>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6704" y="1181101"/>
            <a:ext cx="6464465" cy="1521218"/>
          </a:xfrm>
          <a:prstGeom prst="rect">
            <a:avLst/>
          </a:prstGeom>
        </p:spPr>
        <p:txBody>
          <a:bodyPr/>
          <a:lstStyle>
            <a:lvl1pPr>
              <a:defRPr lang="en-US" sz="3234"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7"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75"/>
            </a:lvl3pPr>
            <a:lvl4pPr>
              <a:defRPr sz="1077"/>
            </a:lvl4pPr>
            <a:lvl5pPr>
              <a:defRPr sz="1077"/>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14225"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Tree>
    <p:extLst>
      <p:ext uri="{BB962C8B-B14F-4D97-AF65-F5344CB8AC3E}">
        <p14:creationId xmlns:p14="http://schemas.microsoft.com/office/powerpoint/2010/main" val="38448659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0"/>
          </p:nvPr>
        </p:nvSpPr>
        <p:spPr>
          <a:xfrm>
            <a:off x="11501658" y="6492884"/>
            <a:ext cx="683172" cy="365125"/>
          </a:xfrm>
          <a:prstGeom prst="rect">
            <a:avLst/>
          </a:prstGeom>
        </p:spPr>
        <p:txBody>
          <a:bodyPr lIns="91386" tIns="45694" rIns="91386" bIns="45694"/>
          <a:lstStyle/>
          <a:p>
            <a:pPr marL="0" marR="0" lvl="0" indent="0" algn="l" defTabSz="91351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1351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Tree>
    <p:extLst>
      <p:ext uri="{BB962C8B-B14F-4D97-AF65-F5344CB8AC3E}">
        <p14:creationId xmlns:p14="http://schemas.microsoft.com/office/powerpoint/2010/main" val="134728736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1881911"/>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973461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53804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First Slide">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r="1638" b="17324"/>
          <a:stretch/>
        </p:blipFill>
        <p:spPr>
          <a:xfrm>
            <a:off x="0" y="-4799"/>
            <a:ext cx="12192000" cy="6858595"/>
          </a:xfrm>
          <a:prstGeom prst="rect">
            <a:avLst/>
          </a:prstGeom>
        </p:spPr>
      </p:pic>
      <p:pic>
        <p:nvPicPr>
          <p:cNvPr id="5" name="Picture 4"/>
          <p:cNvPicPr>
            <a:picLocks noChangeAspect="1"/>
          </p:cNvPicPr>
          <p:nvPr userDrawn="1"/>
        </p:nvPicPr>
        <p:blipFill>
          <a:blip r:embed="rId3"/>
          <a:stretch>
            <a:fillRect/>
          </a:stretch>
        </p:blipFill>
        <p:spPr>
          <a:xfrm>
            <a:off x="555015" y="1538666"/>
            <a:ext cx="6085223" cy="37716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4930" y="2138520"/>
            <a:ext cx="5345393" cy="1285981"/>
          </a:xfrm>
          <a:prstGeom prst="rect">
            <a:avLst/>
          </a:prstGeom>
        </p:spPr>
      </p:pic>
      <p:sp>
        <p:nvSpPr>
          <p:cNvPr id="7" name="TextBox 6">
            <a:hlinkClick r:id="rId5"/>
          </p:cNvPr>
          <p:cNvSpPr txBox="1"/>
          <p:nvPr userDrawn="1"/>
        </p:nvSpPr>
        <p:spPr>
          <a:xfrm>
            <a:off x="853323" y="4214987"/>
            <a:ext cx="2888605" cy="584775"/>
          </a:xfrm>
          <a:prstGeom prst="rect">
            <a:avLst/>
          </a:prstGeom>
          <a:noFill/>
        </p:spPr>
        <p:txBody>
          <a:bodyPr wrap="square" rtlCol="0">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FFFFFF"/>
                </a:solidFill>
                <a:effectLst/>
                <a:uLnTx/>
                <a:uFillTx/>
                <a:latin typeface="Segoe UI Light"/>
                <a:ea typeface="+mn-ea"/>
                <a:cs typeface="+mn-cs"/>
              </a:rPr>
              <a:t>msdevcon.ru</a:t>
            </a:r>
          </a:p>
        </p:txBody>
      </p:sp>
      <p:sp>
        <p:nvSpPr>
          <p:cNvPr id="9" name="Прямоугольник 8"/>
          <p:cNvSpPr/>
          <p:nvPr userDrawn="1"/>
        </p:nvSpPr>
        <p:spPr>
          <a:xfrm>
            <a:off x="4099277" y="4214987"/>
            <a:ext cx="2183611" cy="584775"/>
          </a:xfrm>
          <a:prstGeom prst="rect">
            <a:avLst/>
          </a:prstGeom>
        </p:spPr>
        <p:txBody>
          <a:bodyPr wrap="none">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FFFFFF"/>
                </a:solidFill>
                <a:effectLst/>
                <a:uLnTx/>
                <a:uFillTx/>
                <a:latin typeface="Segoe UI Light"/>
                <a:ea typeface="+mn-ea"/>
                <a:cs typeface="+mn-cs"/>
              </a:rPr>
              <a:t>#</a:t>
            </a:r>
            <a:r>
              <a:rPr kumimoji="0" lang="en-US" sz="3200" b="0" i="0" u="none" strike="noStrike" kern="1200" cap="none" spc="0" normalizeH="0" baseline="0" noProof="0" dirty="0" err="1" smtClean="0">
                <a:ln>
                  <a:noFill/>
                </a:ln>
                <a:solidFill>
                  <a:srgbClr val="FFFFFF"/>
                </a:solidFill>
                <a:effectLst/>
                <a:uLnTx/>
                <a:uFillTx/>
                <a:latin typeface="Segoe UI Light"/>
                <a:ea typeface="+mn-ea"/>
                <a:cs typeface="+mn-cs"/>
              </a:rPr>
              <a:t>msdevcon</a:t>
            </a:r>
            <a:endParaRPr kumimoji="0" lang="en-US" sz="3200" b="0" i="0" u="none" strike="noStrike" kern="1200" cap="none" spc="0" normalizeH="0" baseline="0" noProof="0" dirty="0" smtClean="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594813961"/>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Sess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4174" b="14269"/>
          <a:stretch/>
        </p:blipFill>
        <p:spPr>
          <a:xfrm>
            <a:off x="-24000" y="0"/>
            <a:ext cx="12240000" cy="6858000"/>
          </a:xfrm>
          <a:prstGeom prst="rect">
            <a:avLst/>
          </a:prstGeom>
        </p:spPr>
      </p:pic>
      <p:sp>
        <p:nvSpPr>
          <p:cNvPr id="2" name="Заголовок 1"/>
          <p:cNvSpPr>
            <a:spLocks noGrp="1"/>
          </p:cNvSpPr>
          <p:nvPr>
            <p:ph type="ctrTitle" hasCustomPrompt="1"/>
          </p:nvPr>
        </p:nvSpPr>
        <p:spPr>
          <a:xfrm>
            <a:off x="0" y="3961423"/>
            <a:ext cx="12192000" cy="1440000"/>
          </a:xfrm>
          <a:noFill/>
        </p:spPr>
        <p:txBody>
          <a:bodyPr wrap="square" lIns="1080000" rIns="1080000" anchor="b" anchorCtr="0">
            <a:normAutofit/>
          </a:bodyPr>
          <a:lstStyle>
            <a:lvl1pPr algn="l">
              <a:defRPr sz="4800" b="1" baseline="0">
                <a:solidFill>
                  <a:schemeClr val="bg1"/>
                </a:solidFill>
                <a:latin typeface="+mn-lt"/>
              </a:defRPr>
            </a:lvl1pPr>
          </a:lstStyle>
          <a:p>
            <a:r>
              <a:rPr lang="en-US" dirty="0" smtClean="0"/>
              <a:t>TITLE</a:t>
            </a:r>
            <a:br>
              <a:rPr lang="en-US" dirty="0" smtClean="0"/>
            </a:br>
            <a:r>
              <a:rPr lang="en-US" dirty="0" smtClean="0"/>
              <a:t>!UPPERCASE!</a:t>
            </a:r>
            <a:endParaRPr lang="ru-RU" dirty="0"/>
          </a:p>
        </p:txBody>
      </p:sp>
      <p:sp>
        <p:nvSpPr>
          <p:cNvPr id="21" name="Text Placeholder 20"/>
          <p:cNvSpPr>
            <a:spLocks noGrp="1"/>
          </p:cNvSpPr>
          <p:nvPr>
            <p:ph type="body" sz="quarter" idx="11" hasCustomPrompt="1"/>
          </p:nvPr>
        </p:nvSpPr>
        <p:spPr>
          <a:xfrm>
            <a:off x="1055689" y="5409000"/>
            <a:ext cx="10080625" cy="1081088"/>
          </a:xfrm>
        </p:spPr>
        <p:txBody>
          <a:bodyPr>
            <a:normAutofit/>
          </a:bodyPr>
          <a:lstStyle>
            <a:lvl1pPr marL="0" indent="0">
              <a:buNone/>
              <a:defRPr sz="3600" baseline="0">
                <a:solidFill>
                  <a:schemeClr val="bg1"/>
                </a:solidFill>
              </a:defRPr>
            </a:lvl1pPr>
          </a:lstStyle>
          <a:p>
            <a:pPr lvl="0"/>
            <a:r>
              <a:rPr lang="en-US" dirty="0" smtClean="0"/>
              <a:t>Subtitle</a:t>
            </a:r>
            <a:endParaRPr lang="en-US" dirty="0"/>
          </a:p>
        </p:txBody>
      </p:sp>
    </p:spTree>
    <p:extLst>
      <p:ext uri="{BB962C8B-B14F-4D97-AF65-F5344CB8AC3E}">
        <p14:creationId xmlns:p14="http://schemas.microsoft.com/office/powerpoint/2010/main" val="11200828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734306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reserve="1">
  <p:cSld name="1_Section">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6"/>
          </a:solidFill>
        </p:spPr>
        <p:txBody>
          <a:bodyPr lIns="1080000" rIns="1080000" anchor="b">
            <a:normAutofit/>
          </a:bodyPr>
          <a:lstStyle>
            <a:lvl1pPr algn="l">
              <a:defRPr sz="4800" b="1">
                <a:solidFill>
                  <a:schemeClr val="bg1"/>
                </a:solidFill>
                <a:latin typeface="+mn-lt"/>
              </a:defRPr>
            </a:lvl1pPr>
          </a:lstStyle>
          <a:p>
            <a:r>
              <a:rPr lang="en-US" dirty="0" smtClean="0"/>
              <a:t/>
            </a:r>
            <a:br>
              <a:rPr lang="en-US" dirty="0" smtClean="0"/>
            </a:br>
            <a:r>
              <a:rPr lang="en-US" dirty="0" smtClean="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smtClean="0"/>
              <a:t>Subtitle</a:t>
            </a:r>
            <a:endParaRPr lang="ru-RU" dirty="0"/>
          </a:p>
        </p:txBody>
      </p:sp>
    </p:spTree>
    <p:extLst>
      <p:ext uri="{BB962C8B-B14F-4D97-AF65-F5344CB8AC3E}">
        <p14:creationId xmlns:p14="http://schemas.microsoft.com/office/powerpoint/2010/main" val="69836272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reserve="1">
  <p:cSld name="Section">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1"/>
          </a:solidFill>
        </p:spPr>
        <p:txBody>
          <a:bodyPr lIns="1080000" rIns="1080000" anchor="b">
            <a:normAutofit/>
          </a:bodyPr>
          <a:lstStyle>
            <a:lvl1pPr algn="l">
              <a:defRPr sz="4800" b="1">
                <a:solidFill>
                  <a:schemeClr val="bg1"/>
                </a:solidFill>
                <a:latin typeface="+mn-lt"/>
              </a:defRPr>
            </a:lvl1pPr>
          </a:lstStyle>
          <a:p>
            <a:r>
              <a:rPr lang="en-US" dirty="0" smtClean="0"/>
              <a:t/>
            </a:r>
            <a:br>
              <a:rPr lang="en-US" dirty="0" smtClean="0"/>
            </a:br>
            <a:r>
              <a:rPr lang="en-US" dirty="0" smtClean="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smtClean="0"/>
              <a:t>Subtitle</a:t>
            </a:r>
            <a:endParaRPr lang="ru-RU" dirty="0"/>
          </a:p>
        </p:txBody>
      </p:sp>
      <p:pic>
        <p:nvPicPr>
          <p:cNvPr id="4" name="Рисунок 3"/>
          <p:cNvPicPr>
            <a:picLocks noChangeAspect="1"/>
          </p:cNvPicPr>
          <p:nvPr userDrawn="1"/>
        </p:nvPicPr>
        <p:blipFill>
          <a:blip r:embed="rId2"/>
          <a:stretch>
            <a:fillRect/>
          </a:stretch>
        </p:blipFill>
        <p:spPr>
          <a:xfrm>
            <a:off x="11543632" y="6442645"/>
            <a:ext cx="266737" cy="304844"/>
          </a:xfrm>
          <a:prstGeom prst="rect">
            <a:avLst/>
          </a:prstGeom>
        </p:spPr>
      </p:pic>
    </p:spTree>
    <p:extLst>
      <p:ext uri="{BB962C8B-B14F-4D97-AF65-F5344CB8AC3E}">
        <p14:creationId xmlns:p14="http://schemas.microsoft.com/office/powerpoint/2010/main" val="216745740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peaker">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3"/>
          </a:solidFill>
        </p:spPr>
        <p:txBody>
          <a:bodyPr lIns="1080000" rIns="1080000" anchor="b">
            <a:normAutofit/>
          </a:bodyPr>
          <a:lstStyle>
            <a:lvl1pPr algn="l">
              <a:defRPr sz="4800" b="1">
                <a:solidFill>
                  <a:schemeClr val="bg1"/>
                </a:solidFill>
                <a:latin typeface="+mn-lt"/>
              </a:defRPr>
            </a:lvl1pPr>
          </a:lstStyle>
          <a:p>
            <a:r>
              <a:rPr lang="en-US" dirty="0" smtClean="0"/>
              <a:t/>
            </a:r>
            <a:br>
              <a:rPr lang="en-US" dirty="0" smtClean="0"/>
            </a:br>
            <a:r>
              <a:rPr lang="en-US" dirty="0" smtClean="0"/>
              <a:t>TITLE</a:t>
            </a:r>
            <a:endParaRPr lang="ru-RU" dirty="0"/>
          </a:p>
        </p:txBody>
      </p:sp>
      <p:sp>
        <p:nvSpPr>
          <p:cNvPr id="3" name="Подзаголовок 2"/>
          <p:cNvSpPr>
            <a:spLocks noGrp="1"/>
          </p:cNvSpPr>
          <p:nvPr>
            <p:ph type="subTitle" idx="1" hasCustomPrompt="1"/>
          </p:nvPr>
        </p:nvSpPr>
        <p:spPr>
          <a:xfrm>
            <a:off x="1056001" y="4329002"/>
            <a:ext cx="8460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smtClean="0"/>
              <a:t>Subtitle</a:t>
            </a:r>
            <a:endParaRPr lang="ru-RU" dirty="0"/>
          </a:p>
        </p:txBody>
      </p:sp>
      <p:pic>
        <p:nvPicPr>
          <p:cNvPr id="4" name="Рисунок 3"/>
          <p:cNvPicPr>
            <a:picLocks noChangeAspect="1"/>
          </p:cNvPicPr>
          <p:nvPr userDrawn="1"/>
        </p:nvPicPr>
        <p:blipFill>
          <a:blip r:embed="rId2"/>
          <a:stretch>
            <a:fillRect/>
          </a:stretch>
        </p:blipFill>
        <p:spPr>
          <a:xfrm>
            <a:off x="11543632" y="6442645"/>
            <a:ext cx="266737" cy="304844"/>
          </a:xfrm>
          <a:prstGeom prst="rect">
            <a:avLst/>
          </a:prstGeom>
        </p:spPr>
      </p:pic>
      <p:sp>
        <p:nvSpPr>
          <p:cNvPr id="6" name="Рисунок 5"/>
          <p:cNvSpPr>
            <a:spLocks noGrp="1"/>
          </p:cNvSpPr>
          <p:nvPr>
            <p:ph type="pic" sz="quarter" idx="10"/>
          </p:nvPr>
        </p:nvSpPr>
        <p:spPr>
          <a:xfrm>
            <a:off x="9651368" y="1628708"/>
            <a:ext cx="2159000" cy="2160587"/>
          </a:xfrm>
          <a:prstGeom prst="wedgeEllipseCallout">
            <a:avLst>
              <a:gd name="adj1" fmla="val -47657"/>
              <a:gd name="adj2" fmla="val 51214"/>
            </a:avLst>
          </a:prstGeom>
          <a:solidFill>
            <a:schemeClr val="tx2"/>
          </a:solidFill>
        </p:spPr>
        <p:txBody>
          <a:bodyPr/>
          <a:lstStyle/>
          <a:p>
            <a:endParaRPr lang="ru-RU" dirty="0"/>
          </a:p>
        </p:txBody>
      </p:sp>
      <p:pic>
        <p:nvPicPr>
          <p:cNvPr id="7" name="Рисунок 6"/>
          <p:cNvPicPr>
            <a:picLocks noChangeAspect="1"/>
          </p:cNvPicPr>
          <p:nvPr userDrawn="1"/>
        </p:nvPicPr>
        <p:blipFill>
          <a:blip r:embed="rId2"/>
          <a:stretch>
            <a:fillRect/>
          </a:stretch>
        </p:blipFill>
        <p:spPr>
          <a:xfrm>
            <a:off x="11276896" y="6442645"/>
            <a:ext cx="266737" cy="304844"/>
          </a:xfrm>
          <a:prstGeom prst="rect">
            <a:avLst/>
          </a:prstGeom>
        </p:spPr>
      </p:pic>
    </p:spTree>
    <p:extLst>
      <p:ext uri="{BB962C8B-B14F-4D97-AF65-F5344CB8AC3E}">
        <p14:creationId xmlns:p14="http://schemas.microsoft.com/office/powerpoint/2010/main" val="74996660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reserve="1">
  <p:cSld name="Demo">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4">
              <a:lumMod val="50000"/>
            </a:schemeClr>
          </a:solidFill>
        </p:spPr>
        <p:txBody>
          <a:bodyPr lIns="1080000" rIns="1080000" anchor="b">
            <a:normAutofit/>
          </a:bodyPr>
          <a:lstStyle>
            <a:lvl1pPr algn="l">
              <a:defRPr sz="4800" b="1">
                <a:solidFill>
                  <a:schemeClr val="bg1"/>
                </a:solidFill>
                <a:latin typeface="+mn-lt"/>
              </a:defRPr>
            </a:lvl1pPr>
          </a:lstStyle>
          <a:p>
            <a:r>
              <a:rPr lang="en-US" dirty="0" smtClean="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smtClean="0"/>
              <a:t>Subtitle</a:t>
            </a:r>
            <a:endParaRPr lang="ru-RU" dirty="0"/>
          </a:p>
        </p:txBody>
      </p:sp>
      <p:sp>
        <p:nvSpPr>
          <p:cNvPr id="5" name="TextBox 4"/>
          <p:cNvSpPr txBox="1"/>
          <p:nvPr userDrawn="1"/>
        </p:nvSpPr>
        <p:spPr>
          <a:xfrm>
            <a:off x="1056000" y="904333"/>
            <a:ext cx="733130" cy="369332"/>
          </a:xfrm>
          <a:prstGeom prst="rect">
            <a:avLst/>
          </a:prstGeom>
          <a:noFill/>
        </p:spPr>
        <p:txBody>
          <a:bodyPr wrap="none" lIns="35995" rIns="35995" rtlCol="0">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B20ECA">
                    <a:lumMod val="50000"/>
                  </a:srgbClr>
                </a:solidFill>
                <a:effectLst/>
                <a:uLnTx/>
                <a:uFillTx/>
                <a:latin typeface="Segoe UI"/>
                <a:ea typeface="+mn-ea"/>
                <a:cs typeface="+mn-cs"/>
              </a:rPr>
              <a:t>DEMO</a:t>
            </a:r>
            <a:endParaRPr kumimoji="0" lang="ru-RU" sz="1800" b="0" i="0" u="none" strike="noStrike" kern="1200" cap="none" spc="0" normalizeH="0" baseline="0" noProof="0" dirty="0">
              <a:ln>
                <a:noFill/>
              </a:ln>
              <a:solidFill>
                <a:srgbClr val="B20ECA">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192905642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reserve="1">
  <p:cSld name="Demo VS">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4">
              <a:lumMod val="75000"/>
            </a:schemeClr>
          </a:solidFill>
        </p:spPr>
        <p:txBody>
          <a:bodyPr lIns="1080000" rIns="1080000" anchor="b">
            <a:normAutofit/>
          </a:bodyPr>
          <a:lstStyle>
            <a:lvl1pPr algn="l">
              <a:defRPr sz="4800" b="1">
                <a:solidFill>
                  <a:schemeClr val="bg1"/>
                </a:solidFill>
                <a:latin typeface="+mn-lt"/>
              </a:defRPr>
            </a:lvl1pPr>
          </a:lstStyle>
          <a:p>
            <a:r>
              <a:rPr lang="en-US" dirty="0" smtClean="0"/>
              <a:t>TITLE</a:t>
            </a:r>
            <a:endParaRPr lang="ru-RU" dirty="0"/>
          </a:p>
        </p:txBody>
      </p:sp>
      <p:sp>
        <p:nvSpPr>
          <p:cNvPr id="3" name="Подзаголовок 2"/>
          <p:cNvSpPr>
            <a:spLocks noGrp="1"/>
          </p:cNvSpPr>
          <p:nvPr>
            <p:ph type="subTitle" idx="1" hasCustomPrompt="1"/>
          </p:nvPr>
        </p:nvSpPr>
        <p:spPr>
          <a:xfrm>
            <a:off x="1056000" y="4329002"/>
            <a:ext cx="9144000" cy="1452017"/>
          </a:xfrm>
        </p:spPr>
        <p:txBody>
          <a:bodyPr lIns="36000" rIns="36000">
            <a:normAutofit/>
          </a:bodyPr>
          <a:lstStyle>
            <a:lvl1pPr marL="0" indent="0" algn="l">
              <a:buNone/>
              <a:defRPr sz="3600">
                <a:solidFill>
                  <a:schemeClr val="tx2"/>
                </a:solidFill>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dirty="0" smtClean="0"/>
              <a:t>Subtitle</a:t>
            </a:r>
            <a:endParaRPr lang="ru-RU" dirty="0"/>
          </a:p>
        </p:txBody>
      </p:sp>
      <p:pic>
        <p:nvPicPr>
          <p:cNvPr id="4" name="Рисунок 3"/>
          <p:cNvPicPr>
            <a:picLocks noChangeAspect="1"/>
          </p:cNvPicPr>
          <p:nvPr userDrawn="1"/>
        </p:nvPicPr>
        <p:blipFill>
          <a:blip r:embed="rId2"/>
          <a:stretch>
            <a:fillRect/>
          </a:stretch>
        </p:blipFill>
        <p:spPr>
          <a:xfrm>
            <a:off x="11496000" y="6309001"/>
            <a:ext cx="352475" cy="362001"/>
          </a:xfrm>
          <a:prstGeom prst="rect">
            <a:avLst/>
          </a:prstGeom>
        </p:spPr>
      </p:pic>
      <p:sp>
        <p:nvSpPr>
          <p:cNvPr id="5" name="TextBox 4"/>
          <p:cNvSpPr txBox="1"/>
          <p:nvPr userDrawn="1"/>
        </p:nvSpPr>
        <p:spPr>
          <a:xfrm>
            <a:off x="1056000" y="904333"/>
            <a:ext cx="733130" cy="369332"/>
          </a:xfrm>
          <a:prstGeom prst="rect">
            <a:avLst/>
          </a:prstGeom>
          <a:noFill/>
        </p:spPr>
        <p:txBody>
          <a:bodyPr wrap="none" lIns="35995" rIns="35995" rtlCol="0">
            <a:spAutoFit/>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B20ECA">
                    <a:lumMod val="75000"/>
                  </a:srgbClr>
                </a:solidFill>
                <a:effectLst/>
                <a:uLnTx/>
                <a:uFillTx/>
                <a:latin typeface="Segoe UI"/>
                <a:ea typeface="+mn-ea"/>
                <a:cs typeface="+mn-cs"/>
              </a:rPr>
              <a:t>DEMO</a:t>
            </a:r>
            <a:endParaRPr kumimoji="0" lang="ru-RU" sz="1800" b="0" i="0" u="none" strike="noStrike" kern="1200" cap="none" spc="0" normalizeH="0" baseline="0" noProof="0" dirty="0">
              <a:ln>
                <a:noFill/>
              </a:ln>
              <a:solidFill>
                <a:srgbClr val="B20ECA">
                  <a:lumMod val="75000"/>
                </a:srgbClr>
              </a:solidFill>
              <a:effectLst/>
              <a:uLnTx/>
              <a:uFillTx/>
              <a:latin typeface="Segoe UI"/>
              <a:ea typeface="+mn-ea"/>
              <a:cs typeface="+mn-cs"/>
            </a:endParaRPr>
          </a:p>
        </p:txBody>
      </p:sp>
    </p:spTree>
    <p:extLst>
      <p:ext uri="{BB962C8B-B14F-4D97-AF65-F5344CB8AC3E}">
        <p14:creationId xmlns:p14="http://schemas.microsoft.com/office/powerpoint/2010/main" val="243381678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smtClean="0"/>
              <a:t>Title</a:t>
            </a:r>
            <a:endParaRPr lang="ru-RU" dirty="0"/>
          </a:p>
        </p:txBody>
      </p:sp>
      <p:sp>
        <p:nvSpPr>
          <p:cNvPr id="3" name="Объект 2"/>
          <p:cNvSpPr>
            <a:spLocks noGrp="1"/>
          </p:cNvSpPr>
          <p:nvPr>
            <p:ph idx="1" hasCustomPrompt="1"/>
          </p:nvPr>
        </p:nvSpPr>
        <p:spPr/>
        <p:txBody>
          <a:bodyPr/>
          <a:lstStyle>
            <a:lvl1pPr>
              <a:defRPr/>
            </a:lvl1pPr>
            <a:lvl2pPr>
              <a:defRPr/>
            </a:lvl2pPr>
            <a:lvl3pPr>
              <a:defRPr/>
            </a:lvl3pPr>
          </a:lstStyle>
          <a:p>
            <a:pPr lvl="0"/>
            <a:r>
              <a:rPr lang="en-US" dirty="0" smtClean="0"/>
              <a:t>Text</a:t>
            </a:r>
            <a:endParaRPr lang="ru-RU" dirty="0" smtClean="0"/>
          </a:p>
          <a:p>
            <a:pPr lvl="1"/>
            <a:r>
              <a:rPr lang="en-US" dirty="0" smtClean="0"/>
              <a:t>Text2</a:t>
            </a:r>
            <a:endParaRPr lang="ru-RU" dirty="0" smtClean="0"/>
          </a:p>
          <a:p>
            <a:pPr lvl="2"/>
            <a:r>
              <a:rPr lang="en-US" dirty="0" smtClean="0"/>
              <a:t>Text3</a:t>
            </a:r>
            <a:endParaRPr lang="ru-RU" dirty="0" smtClean="0"/>
          </a:p>
        </p:txBody>
      </p:sp>
    </p:spTree>
    <p:extLst>
      <p:ext uri="{BB962C8B-B14F-4D97-AF65-F5344CB8AC3E}">
        <p14:creationId xmlns:p14="http://schemas.microsoft.com/office/powerpoint/2010/main" val="401064095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smtClean="0"/>
              <a:t>Title</a:t>
            </a:r>
            <a:endParaRPr lang="ru-RU" dirty="0"/>
          </a:p>
        </p:txBody>
      </p:sp>
      <p:sp>
        <p:nvSpPr>
          <p:cNvPr id="3" name="Объект 2"/>
          <p:cNvSpPr>
            <a:spLocks noGrp="1"/>
          </p:cNvSpPr>
          <p:nvPr>
            <p:ph idx="1" hasCustomPrompt="1"/>
          </p:nvPr>
        </p:nvSpPr>
        <p:spPr/>
        <p:txBody>
          <a:bodyPr/>
          <a:lstStyle>
            <a:lvl1pPr marL="0" indent="0">
              <a:buNone/>
              <a:defRPr lang="en-US" dirty="0" smtClean="0"/>
            </a:lvl1pPr>
            <a:lvl2pPr marL="0" indent="0">
              <a:buNone/>
              <a:defRPr/>
            </a:lvl2pPr>
            <a:lvl3pPr marL="273019" indent="-185717">
              <a:buFont typeface="Wingdings" panose="05000000000000000000" pitchFamily="2" charset="2"/>
              <a:buChar char="§"/>
              <a:defRPr/>
            </a:lvl3pPr>
            <a:lvl4pPr marL="1371442" indent="0">
              <a:buNone/>
              <a:defRPr/>
            </a:lvl4pPr>
            <a:lvl5pPr marL="1828589" indent="0">
              <a:buNone/>
              <a:defRPr/>
            </a:lvl5pPr>
          </a:lstStyle>
          <a:p>
            <a:pPr lvl="0"/>
            <a:r>
              <a:rPr lang="en-US" dirty="0" smtClean="0"/>
              <a:t>Text</a:t>
            </a:r>
          </a:p>
          <a:p>
            <a:pPr lvl="1"/>
            <a:r>
              <a:rPr lang="en-US" dirty="0" smtClean="0"/>
              <a:t>Text2</a:t>
            </a:r>
            <a:endParaRPr lang="ru-RU" dirty="0" smtClean="0"/>
          </a:p>
          <a:p>
            <a:pPr lvl="2"/>
            <a:r>
              <a:rPr lang="en-US" dirty="0" smtClean="0"/>
              <a:t>Text3</a:t>
            </a:r>
            <a:endParaRPr lang="ru-RU" dirty="0"/>
          </a:p>
        </p:txBody>
      </p:sp>
    </p:spTree>
    <p:extLst>
      <p:ext uri="{BB962C8B-B14F-4D97-AF65-F5344CB8AC3E}">
        <p14:creationId xmlns:p14="http://schemas.microsoft.com/office/powerpoint/2010/main" val="369269294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smtClean="0"/>
              <a:t>Title</a:t>
            </a:r>
            <a:endParaRPr lang="ru-RU" dirty="0"/>
          </a:p>
        </p:txBody>
      </p:sp>
      <p:sp>
        <p:nvSpPr>
          <p:cNvPr id="3" name="Объект 2"/>
          <p:cNvSpPr>
            <a:spLocks noGrp="1"/>
          </p:cNvSpPr>
          <p:nvPr>
            <p:ph idx="1" hasCustomPrompt="1"/>
          </p:nvPr>
        </p:nvSpPr>
        <p:spPr>
          <a:xfrm>
            <a:off x="1056000" y="1449000"/>
            <a:ext cx="10297800" cy="4860000"/>
          </a:xfrm>
          <a:gradFill flip="none" rotWithShape="1">
            <a:gsLst>
              <a:gs pos="1000">
                <a:schemeClr val="accent6"/>
              </a:gs>
              <a:gs pos="1000">
                <a:schemeClr val="bg1">
                  <a:alpha val="99000"/>
                </a:schemeClr>
              </a:gs>
            </a:gsLst>
            <a:lin ang="0" scaled="1"/>
            <a:tileRect/>
          </a:gradFill>
          <a:ln>
            <a:noFill/>
          </a:ln>
        </p:spPr>
        <p:txBody>
          <a:bodyPr lIns="180000">
            <a:normAutofit/>
          </a:bodyPr>
          <a:lstStyle>
            <a:lvl1pPr marL="0" indent="0">
              <a:spcBef>
                <a:spcPts val="600"/>
              </a:spcBef>
              <a:spcAft>
                <a:spcPts val="0"/>
              </a:spcAft>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22" indent="0">
              <a:spcBef>
                <a:spcPts val="600"/>
              </a:spcBef>
              <a:spcAft>
                <a:spcPts val="0"/>
              </a:spcAft>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055" indent="0">
              <a:spcBef>
                <a:spcPts val="600"/>
              </a:spcBef>
              <a:spcAft>
                <a:spcPts val="0"/>
              </a:spcAft>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376" indent="0">
              <a:spcBef>
                <a:spcPts val="600"/>
              </a:spcBef>
              <a:spcAft>
                <a:spcPts val="0"/>
              </a:spcAft>
              <a:buNone/>
              <a:defRPr sz="1800">
                <a:latin typeface="Consolas" panose="020B0609020204030204" pitchFamily="49" charset="0"/>
                <a:cs typeface="Consolas" panose="020B0609020204030204" pitchFamily="49" charset="0"/>
              </a:defRPr>
            </a:lvl4pPr>
            <a:lvl5pPr marL="1439697" indent="0">
              <a:spcBef>
                <a:spcPts val="600"/>
              </a:spcBef>
              <a:spcAft>
                <a:spcPts val="0"/>
              </a:spcAft>
              <a:buNone/>
              <a:defRPr>
                <a:latin typeface="Consolas" panose="020B0609020204030204" pitchFamily="49" charset="0"/>
                <a:cs typeface="Consolas" panose="020B0609020204030204" pitchFamily="49" charset="0"/>
              </a:defRPr>
            </a:lvl5pPr>
          </a:lstStyle>
          <a:p>
            <a:pPr lvl="0"/>
            <a:r>
              <a:rPr lang="en-US" dirty="0" smtClean="0"/>
              <a:t>Line 1</a:t>
            </a:r>
          </a:p>
          <a:p>
            <a:pPr lvl="1"/>
            <a:r>
              <a:rPr lang="en-US" dirty="0" smtClean="0"/>
              <a:t>Line 2</a:t>
            </a:r>
          </a:p>
          <a:p>
            <a:pPr lvl="2"/>
            <a:r>
              <a:rPr lang="en-US" dirty="0" smtClean="0"/>
              <a:t>Line 3</a:t>
            </a:r>
          </a:p>
          <a:p>
            <a:pPr lvl="3"/>
            <a:r>
              <a:rPr lang="en-US" dirty="0" smtClean="0"/>
              <a:t>Line 4</a:t>
            </a:r>
          </a:p>
          <a:p>
            <a:pPr lvl="4"/>
            <a:r>
              <a:rPr lang="en-US" dirty="0" smtClean="0"/>
              <a:t>Line 5</a:t>
            </a:r>
            <a:endParaRPr lang="ru-RU" dirty="0"/>
          </a:p>
        </p:txBody>
      </p:sp>
    </p:spTree>
    <p:extLst>
      <p:ext uri="{BB962C8B-B14F-4D97-AF65-F5344CB8AC3E}">
        <p14:creationId xmlns:p14="http://schemas.microsoft.com/office/powerpoint/2010/main" val="202270753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smtClean="0"/>
              <a:t>Title</a:t>
            </a:r>
            <a:endParaRPr lang="ru-RU" dirty="0"/>
          </a:p>
        </p:txBody>
      </p:sp>
    </p:spTree>
    <p:extLst>
      <p:ext uri="{BB962C8B-B14F-4D97-AF65-F5344CB8AC3E}">
        <p14:creationId xmlns:p14="http://schemas.microsoft.com/office/powerpoint/2010/main" val="104227110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0500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1"/>
            <a:ext cx="11151917" cy="927940"/>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6776571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hasCustomPrompt="1"/>
          </p:nvPr>
        </p:nvSpPr>
        <p:spPr>
          <a:xfrm>
            <a:off x="0" y="5589001"/>
            <a:ext cx="12192000" cy="720000"/>
          </a:xfrm>
        </p:spPr>
        <p:txBody>
          <a:bodyPr lIns="1044000">
            <a:noAutofit/>
          </a:bodyPr>
          <a:lstStyle>
            <a:lvl1pPr>
              <a:defRPr sz="4800"/>
            </a:lvl1pPr>
          </a:lstStyle>
          <a:p>
            <a:r>
              <a:rPr lang="en-US" dirty="0" smtClean="0"/>
              <a:t>Title</a:t>
            </a:r>
            <a:endParaRPr lang="ru-RU" dirty="0"/>
          </a:p>
        </p:txBody>
      </p:sp>
    </p:spTree>
    <p:extLst>
      <p:ext uri="{BB962C8B-B14F-4D97-AF65-F5344CB8AC3E}">
        <p14:creationId xmlns:p14="http://schemas.microsoft.com/office/powerpoint/2010/main" val="180241697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3"/>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hasCustomPrompt="1"/>
          </p:nvPr>
        </p:nvSpPr>
        <p:spPr>
          <a:xfrm>
            <a:off x="2296" y="1269000"/>
            <a:ext cx="6093704" cy="4320000"/>
          </a:xfrm>
        </p:spPr>
        <p:txBody>
          <a:bodyPr lIns="1044000" rIns="360000"/>
          <a:lstStyle>
            <a:lvl1pPr>
              <a:defRPr>
                <a:solidFill>
                  <a:schemeClr val="bg1"/>
                </a:solidFill>
                <a:latin typeface="+mj-lt"/>
              </a:defRPr>
            </a:lvl1pPr>
          </a:lstStyle>
          <a:p>
            <a:r>
              <a:rPr lang="en-US" dirty="0" smtClean="0"/>
              <a:t>Title</a:t>
            </a:r>
            <a:endParaRPr lang="ru-RU" dirty="0"/>
          </a:p>
        </p:txBody>
      </p:sp>
    </p:spTree>
    <p:extLst>
      <p:ext uri="{BB962C8B-B14F-4D97-AF65-F5344CB8AC3E}">
        <p14:creationId xmlns:p14="http://schemas.microsoft.com/office/powerpoint/2010/main" val="285598419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2"/>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hasCustomPrompt="1"/>
          </p:nvPr>
        </p:nvSpPr>
        <p:spPr>
          <a:xfrm>
            <a:off x="2296" y="1269000"/>
            <a:ext cx="8253704" cy="4320000"/>
          </a:xfrm>
        </p:spPr>
        <p:txBody>
          <a:bodyPr lIns="1044000" rIns="360000"/>
          <a:lstStyle>
            <a:lvl1pPr>
              <a:defRPr>
                <a:solidFill>
                  <a:schemeClr val="bg1"/>
                </a:solidFill>
                <a:latin typeface="+mj-lt"/>
              </a:defRPr>
            </a:lvl1pPr>
          </a:lstStyle>
          <a:p>
            <a:r>
              <a:rPr lang="en-US" dirty="0" smtClean="0"/>
              <a:t>Title</a:t>
            </a:r>
            <a:endParaRPr lang="ru-RU" dirty="0"/>
          </a:p>
        </p:txBody>
      </p:sp>
    </p:spTree>
    <p:extLst>
      <p:ext uri="{BB962C8B-B14F-4D97-AF65-F5344CB8AC3E}">
        <p14:creationId xmlns:p14="http://schemas.microsoft.com/office/powerpoint/2010/main" val="361847609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solidFill>
                  <a:schemeClr val="bg1"/>
                </a:solidFill>
              </a:defRPr>
            </a:lvl1pPr>
          </a:lstStyle>
          <a:p>
            <a:r>
              <a:rPr lang="en-US" dirty="0" smtClean="0"/>
              <a:t>Title</a:t>
            </a:r>
            <a:endParaRPr lang="ru-RU" dirty="0"/>
          </a:p>
        </p:txBody>
      </p:sp>
      <p:sp>
        <p:nvSpPr>
          <p:cNvPr id="3" name="Объект 2"/>
          <p:cNvSpPr>
            <a:spLocks noGrp="1"/>
          </p:cNvSpPr>
          <p:nvPr>
            <p:ph idx="1" hasCustomPrompt="1"/>
          </p:nvPr>
        </p:nvSpPr>
        <p:spPr>
          <a:xfrm>
            <a:off x="1056000" y="4149139"/>
            <a:ext cx="10297800" cy="2159861"/>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19" indent="-185717">
              <a:buFont typeface="Wingdings" panose="05000000000000000000" pitchFamily="2" charset="2"/>
              <a:buChar char="§"/>
              <a:defRPr>
                <a:ln>
                  <a:noFill/>
                </a:ln>
                <a:solidFill>
                  <a:schemeClr val="bg1">
                    <a:lumMod val="85000"/>
                  </a:schemeClr>
                </a:solidFill>
              </a:defRPr>
            </a:lvl3pPr>
            <a:lvl4pPr marL="1371442" indent="0">
              <a:buNone/>
              <a:defRPr/>
            </a:lvl4pPr>
            <a:lvl5pPr marL="1828589" indent="0">
              <a:buNone/>
              <a:defRPr/>
            </a:lvl5pPr>
          </a:lstStyle>
          <a:p>
            <a:pPr lvl="0"/>
            <a:r>
              <a:rPr lang="en-US" dirty="0" smtClean="0"/>
              <a:t>Text</a:t>
            </a:r>
          </a:p>
          <a:p>
            <a:pPr lvl="1"/>
            <a:r>
              <a:rPr lang="en-US" dirty="0" smtClean="0"/>
              <a:t>Text2</a:t>
            </a:r>
            <a:endParaRPr lang="ru-RU" dirty="0" smtClean="0"/>
          </a:p>
          <a:p>
            <a:pPr lvl="2"/>
            <a:r>
              <a:rPr lang="en-US" dirty="0" smtClean="0"/>
              <a:t>Text3</a:t>
            </a:r>
            <a:endParaRPr lang="ru-RU" dirty="0"/>
          </a:p>
        </p:txBody>
      </p:sp>
      <p:sp>
        <p:nvSpPr>
          <p:cNvPr id="5" name="Рисунок 4"/>
          <p:cNvSpPr>
            <a:spLocks noGrp="1"/>
          </p:cNvSpPr>
          <p:nvPr>
            <p:ph type="pic" sz="quarter" idx="10"/>
          </p:nvPr>
        </p:nvSpPr>
        <p:spPr>
          <a:xfrm>
            <a:off x="1116000" y="1449388"/>
            <a:ext cx="2460000" cy="2519363"/>
          </a:xfrm>
          <a:prstGeom prst="wedgeEllipseCallout">
            <a:avLst>
              <a:gd name="adj1" fmla="val -49528"/>
              <a:gd name="adj2" fmla="val 49797"/>
            </a:avLst>
          </a:prstGeom>
          <a:solidFill>
            <a:schemeClr val="accent2"/>
          </a:solidFill>
        </p:spPr>
        <p:txBody>
          <a:bodyPr/>
          <a:lstStyle/>
          <a:p>
            <a:endParaRPr lang="ru-RU"/>
          </a:p>
        </p:txBody>
      </p:sp>
    </p:spTree>
    <p:extLst>
      <p:ext uri="{BB962C8B-B14F-4D97-AF65-F5344CB8AC3E}">
        <p14:creationId xmlns:p14="http://schemas.microsoft.com/office/powerpoint/2010/main" val="51358621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smtClean="0"/>
              <a:t>Title</a:t>
            </a:r>
            <a:endParaRPr lang="ru-RU" dirty="0"/>
          </a:p>
        </p:txBody>
      </p:sp>
      <p:sp>
        <p:nvSpPr>
          <p:cNvPr id="3" name="Объект 2"/>
          <p:cNvSpPr>
            <a:spLocks noGrp="1"/>
          </p:cNvSpPr>
          <p:nvPr>
            <p:ph idx="1" hasCustomPrompt="1"/>
          </p:nvPr>
        </p:nvSpPr>
        <p:spPr/>
        <p:txBody>
          <a:bodyPr/>
          <a:lstStyle>
            <a:lvl1pPr marL="0" indent="0">
              <a:buNone/>
              <a:defRPr lang="en-US" dirty="0" smtClean="0"/>
            </a:lvl1pPr>
            <a:lvl2pPr marL="0" indent="0">
              <a:buNone/>
              <a:defRPr/>
            </a:lvl2pPr>
            <a:lvl3pPr marL="273019" indent="-185717">
              <a:buFont typeface="Wingdings" panose="05000000000000000000" pitchFamily="2" charset="2"/>
              <a:buChar char="§"/>
              <a:defRPr/>
            </a:lvl3pPr>
            <a:lvl4pPr marL="1371442" indent="0">
              <a:buNone/>
              <a:defRPr/>
            </a:lvl4pPr>
            <a:lvl5pPr marL="1828589" indent="0">
              <a:buNone/>
              <a:defRPr/>
            </a:lvl5pPr>
          </a:lstStyle>
          <a:p>
            <a:pPr lvl="0"/>
            <a:r>
              <a:rPr lang="en-US" dirty="0" smtClean="0"/>
              <a:t>Text</a:t>
            </a:r>
          </a:p>
          <a:p>
            <a:pPr lvl="1"/>
            <a:r>
              <a:rPr lang="en-US" dirty="0" smtClean="0"/>
              <a:t>Text2</a:t>
            </a:r>
            <a:endParaRPr lang="ru-RU" dirty="0" smtClean="0"/>
          </a:p>
          <a:p>
            <a:pPr lvl="2"/>
            <a:r>
              <a:rPr lang="en-US" dirty="0" smtClean="0"/>
              <a:t>Text3</a:t>
            </a:r>
            <a:endParaRPr lang="ru-RU" dirty="0"/>
          </a:p>
        </p:txBody>
      </p:sp>
    </p:spTree>
    <p:extLst>
      <p:ext uri="{BB962C8B-B14F-4D97-AF65-F5344CB8AC3E}">
        <p14:creationId xmlns:p14="http://schemas.microsoft.com/office/powerpoint/2010/main" val="232322745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8" y="6298301"/>
            <a:ext cx="11173091" cy="323165"/>
          </a:xfrm>
          <a:prstGeom prst="rect">
            <a:avLst/>
          </a:prstGeom>
          <a:noFill/>
          <a:ln w="12700">
            <a:noFill/>
            <a:miter lim="800000"/>
            <a:headEnd type="none" w="sm" len="sm"/>
            <a:tailEnd type="none" w="sm" len="sm"/>
          </a:ln>
          <a:effectLst/>
        </p:spPr>
        <p:txBody>
          <a:bodyPr lIns="0" tIns="0" rIns="0" bIns="0">
            <a:spAutoFit/>
          </a:bodyPr>
          <a:lstStyle/>
          <a:p>
            <a:pPr marL="0" marR="0" lvl="0" indent="0" algn="l" defTabSz="913994"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60F18"/>
                </a:solidFill>
                <a:effectLst/>
                <a:uLnTx/>
                <a:uFillTx/>
                <a:latin typeface="Segoe UI"/>
                <a:ea typeface="+mn-ea"/>
                <a:cs typeface="Arial" charset="0"/>
              </a:rPr>
              <a:t>© 2013 Microsoft Corporation. All rights reserved. Microsoft, Windows, Windows Vista and other product names are or may be registered trademarks and/or trademarks in the U.S. and/or other countries.</a:t>
            </a:r>
          </a:p>
          <a:p>
            <a:pPr marL="0" marR="0" lvl="0" indent="0" algn="l" defTabSz="913994"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60F18"/>
                </a:soli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2" y="2743201"/>
            <a:ext cx="5102225" cy="1091876"/>
          </a:xfrm>
          <a:prstGeom prst="rect">
            <a:avLst/>
          </a:prstGeom>
        </p:spPr>
      </p:pic>
    </p:spTree>
    <p:extLst>
      <p:ext uri="{BB962C8B-B14F-4D97-AF65-F5344CB8AC3E}">
        <p14:creationId xmlns:p14="http://schemas.microsoft.com/office/powerpoint/2010/main" val="347560272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70pt Titl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41" y="291071"/>
            <a:ext cx="10757097" cy="1108427"/>
          </a:xfrm>
          <a:prstGeom prst="rect">
            <a:avLst/>
          </a:prstGeom>
        </p:spPr>
        <p:txBody>
          <a:bodyPr lIns="146304" tIns="91440" rIns="146304" bIns="91440">
            <a:noAutofit/>
          </a:bodyPr>
          <a:lstStyle>
            <a:lvl1pPr marL="0" indent="0">
              <a:lnSpc>
                <a:spcPct val="90000"/>
              </a:lnSpc>
              <a:spcBef>
                <a:spcPts val="1176"/>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262" rtl="0" eaLnBrk="1" fontAlgn="auto" latinLnBrk="0" hangingPunct="1">
              <a:lnSpc>
                <a:spcPct val="90000"/>
              </a:lnSpc>
              <a:spcBef>
                <a:spcPts val="1176"/>
              </a:spcBef>
              <a:spcAft>
                <a:spcPts val="2353"/>
              </a:spcAft>
              <a:buClrTx/>
              <a:buSzPct val="90000"/>
              <a:buFontTx/>
              <a:buNone/>
              <a:tabLst/>
            </a:pPr>
            <a:r>
              <a:rPr lang="en-US" dirty="0" smtClean="0"/>
              <a:t>Click to edit Master text</a:t>
            </a:r>
          </a:p>
        </p:txBody>
      </p:sp>
      <p:sp>
        <p:nvSpPr>
          <p:cNvPr id="2" name="Footer Placeholder 1"/>
          <p:cNvSpPr>
            <a:spLocks noGrp="1"/>
          </p:cNvSpPr>
          <p:nvPr>
            <p:ph type="ftr" sz="quarter" idx="11"/>
          </p:nvPr>
        </p:nvSpPr>
        <p:spPr>
          <a:xfrm>
            <a:off x="448213" y="6437243"/>
            <a:ext cx="3859607" cy="134483"/>
          </a:xfrm>
          <a:prstGeom prst="rect">
            <a:avLst/>
          </a:prstGeom>
        </p:spPr>
        <p:txBody>
          <a:bodyPr/>
          <a:lstStyle>
            <a:lvl1pPr>
              <a:defRPr>
                <a:solidFill>
                  <a:schemeClr val="tx2"/>
                </a:solidFill>
              </a:defRPr>
            </a:lvl1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11367167" y="6437243"/>
            <a:ext cx="555596" cy="134483"/>
          </a:xfrm>
          <a:prstGeom prst="rect">
            <a:avLst/>
          </a:prstGeom>
        </p:spPr>
        <p:txBody>
          <a:bodyPr/>
          <a:lstStyle>
            <a:lvl1pPr>
              <a:defRPr>
                <a:solidFill>
                  <a:schemeClr val="tx2"/>
                </a:solidFill>
              </a:defRPr>
            </a:lvl1pPr>
          </a:lstStyle>
          <a:p>
            <a:pPr marL="0" marR="0" lvl="0" indent="0" algn="l" defTabSz="914296" rtl="0" eaLnBrk="1" fontAlgn="auto" latinLnBrk="0" hangingPunct="1">
              <a:lnSpc>
                <a:spcPct val="100000"/>
              </a:lnSpc>
              <a:spcBef>
                <a:spcPts val="0"/>
              </a:spcBef>
              <a:spcAft>
                <a:spcPts val="0"/>
              </a:spcAft>
              <a:buClrTx/>
              <a:buSzTx/>
              <a:buFontTx/>
              <a:buNone/>
              <a:tabLst/>
              <a:defRPr/>
            </a:pPr>
            <a:fld id="{27258FFF-F925-446B-8502-81C933981705}" type="slidenum">
              <a:rPr kumimoji="0" lang="en-US" altLang="ko-KR"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296" rtl="0" eaLnBrk="1" fontAlgn="auto" latinLnBrk="0" hangingPunct="1">
                <a:lnSpc>
                  <a:spcPct val="100000"/>
                </a:lnSpc>
                <a:spcBef>
                  <a:spcPts val="0"/>
                </a:spcBef>
                <a:spcAft>
                  <a:spcPts val="0"/>
                </a:spcAft>
                <a:buClrTx/>
                <a:buSzTx/>
                <a:buFontTx/>
                <a:buNone/>
                <a:tabLst/>
                <a:defRPr/>
              </a:pPr>
              <a:t>‹#›</a:t>
            </a:fld>
            <a:endParaRPr kumimoji="0" lang="ko-KR" alt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884583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5091359"/>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920590820"/>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49078894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641305056"/>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86401546"/>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940892651"/>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981766572"/>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47962673"/>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015219263"/>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75312400"/>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24404168"/>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1873634624"/>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298"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3770598"/>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40783118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mj-lt"/>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340779384"/>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smtClean="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93349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83466179"/>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38881156"/>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22881028"/>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060939"/>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20097592"/>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53573978"/>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419340"/>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97946511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Segoe UI"/>
                <a:ea typeface="+mn-ea"/>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Segoe UI"/>
                <a:ea typeface="+mn-ea"/>
                <a:cs typeface="+mn-cs"/>
              </a:endParaRPr>
            </a:p>
          </p:txBody>
        </p:sp>
      </p:grpSp>
    </p:spTree>
    <p:extLst>
      <p:ext uri="{BB962C8B-B14F-4D97-AF65-F5344CB8AC3E}">
        <p14:creationId xmlns:p14="http://schemas.microsoft.com/office/powerpoint/2010/main" val="168219294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71664337"/>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1687462066"/>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grpSp>
    </p:spTree>
    <p:extLst>
      <p:ext uri="{BB962C8B-B14F-4D97-AF65-F5344CB8AC3E}">
        <p14:creationId xmlns:p14="http://schemas.microsoft.com/office/powerpoint/2010/main" val="3949142653"/>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4026018433"/>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Segoe UI"/>
                <a:ea typeface="+mn-ea"/>
                <a:cs typeface="+mn-cs"/>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92929"/>
                </a:solidFill>
                <a:effectLst/>
                <a:uLnTx/>
                <a:uFillTx/>
                <a:latin typeface="Segoe UI"/>
                <a:ea typeface="+mn-ea"/>
                <a:cs typeface="+mn-cs"/>
              </a:endParaRPr>
            </a:p>
          </p:txBody>
        </p:sp>
      </p:grpSp>
    </p:spTree>
    <p:extLst>
      <p:ext uri="{BB962C8B-B14F-4D97-AF65-F5344CB8AC3E}">
        <p14:creationId xmlns:p14="http://schemas.microsoft.com/office/powerpoint/2010/main" val="109203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66182849"/>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alpha val="99000"/>
                  </a:srgbClr>
                </a:solidFill>
                <a:effectLst/>
                <a:uLnTx/>
                <a:uFillTx/>
                <a:latin typeface="Segoe UI" pitchFamily="34" charset="0"/>
                <a:ea typeface="+mn-ea"/>
                <a:cs typeface="Arial" charset="0"/>
              </a:rPr>
              <a:t>© </a:t>
            </a:r>
            <a:r>
              <a:rPr kumimoji="0" lang="en-US" sz="700" b="0" i="0" u="none" strike="noStrike" kern="1200" cap="none" spc="0" normalizeH="0" baseline="0" noProof="0" dirty="0" smtClean="0">
                <a:ln>
                  <a:noFill/>
                </a:ln>
                <a:solidFill>
                  <a:srgbClr val="FFFFFF">
                    <a:alpha val="99000"/>
                  </a:srgbClr>
                </a:solidFill>
                <a:effectLst/>
                <a:uLnTx/>
                <a:uFillTx/>
                <a:latin typeface="Segoe UI" pitchFamily="34" charset="0"/>
                <a:ea typeface="+mn-ea"/>
                <a:cs typeface="Arial" charset="0"/>
              </a:rPr>
              <a:t>2011 Microsoft </a:t>
            </a:r>
            <a:r>
              <a:rPr kumimoji="0" lang="en-US" sz="700" b="0" i="0" u="none" strike="noStrike" kern="1200" cap="none" spc="0" normalizeH="0" baseline="0" noProof="0" dirty="0">
                <a:ln>
                  <a:noFill/>
                </a:ln>
                <a:solidFill>
                  <a:srgbClr val="FFFFFF">
                    <a:alpha val="99000"/>
                  </a:srgbClr>
                </a:solidFill>
                <a:effectLst/>
                <a:uLnTx/>
                <a:uFillTx/>
                <a:latin typeface="Segoe UI" pitchFamily="34" charset="0"/>
                <a:ea typeface="+mn-ea"/>
                <a:cs typeface="Arial" charset="0"/>
              </a:rPr>
              <a:t>Corporation. All rights reserved. Microsoft, Windows, Windows Vista and other product names are or may be registered trademarks and/or trademarks in the U.S. and/or other countries.</a:t>
            </a:r>
          </a:p>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alpha val="99000"/>
                  </a:srgbClr>
                </a:solidFill>
                <a:effectLst/>
                <a:uLnTx/>
                <a:uFillTx/>
                <a:latin typeface="Segoe UI" pitchFamily="34" charset="0"/>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kumimoji="0" lang="en-US" sz="700" b="0" i="0" u="none" strike="noStrike" kern="1200" cap="none" spc="0" normalizeH="0" baseline="0" noProof="0" dirty="0" smtClean="0">
                <a:ln>
                  <a:noFill/>
                </a:ln>
                <a:solidFill>
                  <a:srgbClr val="FFFFFF">
                    <a:alpha val="99000"/>
                  </a:srgbClr>
                </a:solidFill>
                <a:effectLst/>
                <a:uLnTx/>
                <a:uFillTx/>
                <a:latin typeface="Segoe UI" pitchFamily="34" charset="0"/>
                <a:ea typeface="+mn-ea"/>
                <a:cs typeface="Arial" charset="0"/>
              </a:rPr>
              <a:t>MICROSOFT </a:t>
            </a:r>
            <a:r>
              <a:rPr kumimoji="0" lang="en-US" sz="700" b="0" i="0" u="none" strike="noStrike" kern="1200" cap="none" spc="0" normalizeH="0" baseline="0" noProof="0" dirty="0">
                <a:ln>
                  <a:noFill/>
                </a:ln>
                <a:solidFill>
                  <a:srgbClr val="FFFFFF">
                    <a:alpha val="99000"/>
                  </a:srgbClr>
                </a:solidFill>
                <a:effectLst/>
                <a:uLnTx/>
                <a:uFillTx/>
                <a:latin typeface="Segoe UI" pitchFamily="34" charset="0"/>
                <a:ea typeface="+mn-ea"/>
                <a:cs typeface="Arial" charset="0"/>
              </a:rPr>
              <a:t>MAKES NO WARRANTIES, EXPRESS, IMPLIED OR STATUTORY, AS TO THE INFORMATION IN THIS PRESENTATION.</a:t>
            </a:r>
          </a:p>
        </p:txBody>
      </p:sp>
    </p:spTree>
    <p:extLst>
      <p:ext uri="{BB962C8B-B14F-4D97-AF65-F5344CB8AC3E}">
        <p14:creationId xmlns:p14="http://schemas.microsoft.com/office/powerpoint/2010/main" val="1292409309"/>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63905390"/>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4277584"/>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64960146"/>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p>
            <a:pPr defTabSz="1218987" latinLnBrk="0"/>
            <a:fld id="{5E557047-71DC-490B-BCBA-F5270433745D}" type="datetimeFigureOut">
              <a:rPr lang="en-US" sz="2400" smtClean="0">
                <a:solidFill>
                  <a:srgbClr val="292929"/>
                </a:solidFill>
              </a:rPr>
              <a:pPr defTabSz="1218987" latinLnBrk="0"/>
              <a:t>5/10/2016</a:t>
            </a:fld>
            <a:endParaRPr lang="en-US" sz="2400">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p>
            <a:pPr defTabSz="1218987" latinLnBrk="0"/>
            <a:endParaRPr lang="en-US" sz="2400">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p>
            <a:pPr defTabSz="1218987" latinLnBrk="0"/>
            <a:fld id="{D4C7DCE7-1875-43E1-A18F-C9D237E1644F}" type="slidenum">
              <a:rPr lang="en-US" sz="2400" smtClean="0">
                <a:solidFill>
                  <a:srgbClr val="292929"/>
                </a:solidFill>
              </a:rPr>
              <a:pPr defTabSz="1218987" latinLnBrk="0"/>
              <a:t>‹#›</a:t>
            </a:fld>
            <a:endParaRPr lang="en-US" sz="2400">
              <a:solidFill>
                <a:srgbClr val="292929"/>
              </a:solidFill>
            </a:endParaRPr>
          </a:p>
        </p:txBody>
      </p:sp>
    </p:spTree>
    <p:extLst>
      <p:ext uri="{BB962C8B-B14F-4D97-AF65-F5344CB8AC3E}">
        <p14:creationId xmlns:p14="http://schemas.microsoft.com/office/powerpoint/2010/main" val="667202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dirty="0" smtClean="0"/>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dirty="0" smtClean="0"/>
              <a:t>Demo title</a:t>
            </a:r>
            <a:endParaRPr lang="en-US" dirty="0"/>
          </a:p>
        </p:txBody>
      </p:sp>
    </p:spTree>
    <p:extLst>
      <p:ext uri="{BB962C8B-B14F-4D97-AF65-F5344CB8AC3E}">
        <p14:creationId xmlns:p14="http://schemas.microsoft.com/office/powerpoint/2010/main" val="1100070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mj-lt"/>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7333769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7">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46613" r="20858" b="9535"/>
          <a:stretch/>
        </p:blipFill>
        <p:spPr>
          <a:xfrm>
            <a:off x="2" y="-1"/>
            <a:ext cx="12191999" cy="6858001"/>
          </a:xfrm>
          <a:prstGeom prst="rect">
            <a:avLst/>
          </a:prstGeom>
        </p:spPr>
      </p:pic>
      <p:sp>
        <p:nvSpPr>
          <p:cNvPr id="8" name="Rectangle 7"/>
          <p:cNvSpPr/>
          <p:nvPr userDrawn="1"/>
        </p:nvSpPr>
        <p:spPr bwMode="gray">
          <a:xfrm>
            <a:off x="269239" y="2084173"/>
            <a:ext cx="7171383" cy="2689640"/>
          </a:xfrm>
          <a:prstGeom prst="rect">
            <a:avLst/>
          </a:pr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9"/>
          <p:cNvSpPr>
            <a:spLocks noGrp="1"/>
          </p:cNvSpPr>
          <p:nvPr>
            <p:ph type="title"/>
          </p:nvPr>
        </p:nvSpPr>
        <p:spPr>
          <a:xfrm>
            <a:off x="267682" y="2082469"/>
            <a:ext cx="7172940" cy="1884456"/>
          </a:xfrm>
        </p:spPr>
        <p:txBody>
          <a:bodyPr/>
          <a:lstStyle/>
          <a:p>
            <a:r>
              <a:rPr lang="en-US" dirty="0" smtClean="0"/>
              <a:t>Hardware presentation title goes here.</a:t>
            </a: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pic>
        <p:nvPicPr>
          <p:cNvPr id="12" name="Picture 11" descr="summit-sign_lockup_RGB_event_name-02.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302" y="4764474"/>
            <a:ext cx="1792850" cy="1793104"/>
          </a:xfrm>
          <a:prstGeom prst="rect">
            <a:avLst/>
          </a:prstGeom>
        </p:spPr>
      </p:pic>
    </p:spTree>
    <p:extLst>
      <p:ext uri="{BB962C8B-B14F-4D97-AF65-F5344CB8AC3E}">
        <p14:creationId xmlns:p14="http://schemas.microsoft.com/office/powerpoint/2010/main" val="4290430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1091972"/>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0593002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2736750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6DC2E9"/>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44718859"/>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6DC2E9"/>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7991881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6DC2E9"/>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2899280"/>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6174259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95025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24506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2651155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19279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98067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9907375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1997924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구역 머리글">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147337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bIns="0"/>
          <a:lstStyle/>
          <a:p>
            <a:r>
              <a:rPr lang="en-US" dirty="0" smtClean="0"/>
              <a:t>Click to edit master title style</a:t>
            </a:r>
            <a:endParaRPr lang="en-US" dirty="0"/>
          </a:p>
        </p:txBody>
      </p:sp>
    </p:spTree>
    <p:extLst>
      <p:ext uri="{BB962C8B-B14F-4D97-AF65-F5344CB8AC3E}">
        <p14:creationId xmlns:p14="http://schemas.microsoft.com/office/powerpoint/2010/main" val="55766582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14400" y="2130426"/>
            <a:ext cx="10363200" cy="1470025"/>
          </a:xfrm>
        </p:spPr>
        <p:txBody>
          <a:bodyPr/>
          <a:lstStyle/>
          <a:p>
            <a:r>
              <a:rPr lang="ko-KR" altLang="en-US" smtClean="0"/>
              <a:t>마스터 제목 스타일 편집</a:t>
            </a:r>
            <a:endParaRPr lang="ko-KR" altLang="en-US"/>
          </a:p>
        </p:txBody>
      </p:sp>
      <p:sp>
        <p:nvSpPr>
          <p:cNvPr id="3" name="부제목 2"/>
          <p:cNvSpPr>
            <a:spLocks noGrp="1"/>
          </p:cNvSpPr>
          <p:nvPr>
            <p:ph type="subTitle" idx="1"/>
          </p:nvPr>
        </p:nvSpPr>
        <p:spPr>
          <a:xfrm>
            <a:off x="1828800" y="3886200"/>
            <a:ext cx="8534400" cy="724246"/>
          </a:xfrm>
        </p:spPr>
        <p:txBody>
          <a:bodyPr/>
          <a:lstStyle>
            <a:lvl1pPr marL="0" indent="0" algn="ctr">
              <a:buNone/>
              <a:defRPr>
                <a:solidFill>
                  <a:schemeClr val="bg1"/>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ko-KR" altLang="en-US" smtClean="0"/>
              <a:t>마스터 부제목 스타일 편집</a:t>
            </a:r>
            <a:endParaRPr lang="ko-KR" altLang="en-US"/>
          </a:p>
        </p:txBody>
      </p:sp>
      <p:sp>
        <p:nvSpPr>
          <p:cNvPr id="4" name="날짜 개체 틀 3"/>
          <p:cNvSpPr>
            <a:spLocks noGrp="1"/>
          </p:cNvSpPr>
          <p:nvPr>
            <p:ph type="dt" sz="half" idx="10"/>
          </p:nvPr>
        </p:nvSpPr>
        <p:spPr>
          <a:xfrm>
            <a:off x="609600" y="6356351"/>
            <a:ext cx="2844800" cy="365125"/>
          </a:xfrm>
          <a:prstGeom prst="rect">
            <a:avLst/>
          </a:prstGeom>
        </p:spPr>
        <p:txBody>
          <a:bodyPr/>
          <a:lstStyle>
            <a:lvl1pPr>
              <a:defRPr>
                <a:solidFill>
                  <a:schemeClr val="bg1"/>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fld id="{A2536688-D7E5-43CE-A0B9-183FE151E231}" type="datetimeFigureOut">
              <a:rPr kumimoji="0" lang="ko-KR" alt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2016-05-10</a:t>
            </a:fld>
            <a:endParaRPr kumimoji="0" lang="ko-KR" alt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바닥글 개체 틀 4"/>
          <p:cNvSpPr>
            <a:spLocks noGrp="1"/>
          </p:cNvSpPr>
          <p:nvPr>
            <p:ph type="ftr" sz="quarter" idx="11"/>
          </p:nvPr>
        </p:nvSpPr>
        <p:spPr>
          <a:xfrm>
            <a:off x="4165600" y="6356351"/>
            <a:ext cx="3860800" cy="365125"/>
          </a:xfrm>
          <a:prstGeom prst="rect">
            <a:avLst/>
          </a:prstGeom>
        </p:spPr>
        <p:txBody>
          <a:bodyPr/>
          <a:lstStyle>
            <a:lvl1pPr>
              <a:defRPr>
                <a:solidFill>
                  <a:schemeClr val="bg1"/>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슬라이드 번호 개체 틀 5"/>
          <p:cNvSpPr>
            <a:spLocks noGrp="1"/>
          </p:cNvSpPr>
          <p:nvPr>
            <p:ph type="sldNum" sz="quarter" idx="12"/>
          </p:nvPr>
        </p:nvSpPr>
        <p:spPr>
          <a:xfrm>
            <a:off x="8737600" y="6356351"/>
            <a:ext cx="2844800" cy="365125"/>
          </a:xfrm>
          <a:prstGeom prst="rect">
            <a:avLst/>
          </a:prstGeom>
        </p:spPr>
        <p:txBody>
          <a:bodyPr/>
          <a:lstStyle>
            <a:lvl1pPr>
              <a:defRPr>
                <a:solidFill>
                  <a:schemeClr val="bg1"/>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fld id="{FB525479-BFCE-4EB8-972F-F51A5FFACC23}" type="slidenum">
              <a:rPr kumimoji="0" lang="ko-KR" alt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ko-KR" alt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3316676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6850333"/>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25210448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55" y="259793"/>
            <a:ext cx="8964247" cy="979531"/>
          </a:xfrm>
        </p:spPr>
        <p:txBody>
          <a:bodyPr lIns="146125" tIns="91329" rIns="146125" bIns="91329"/>
          <a:lstStyle>
            <a:lvl1pPr>
              <a:lnSpc>
                <a:spcPts val="6175"/>
              </a:lnSpc>
              <a:defRPr sz="5097" baseline="0">
                <a:solidFill>
                  <a:schemeClr val="tx2"/>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23888432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456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39" y="308191"/>
            <a:ext cx="11151917" cy="927940"/>
          </a:xfrm>
          <a:prstGeom prst="rect">
            <a:avLst/>
          </a:prstGeom>
        </p:spPr>
        <p:txBody>
          <a:bodyPr lIns="143428" tIns="89642" rIns="143428" bIns="89642"/>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294"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Arial" charset="0"/>
              </a:rPr>
              <a:t>Cloud, an ‘evolution’ for IT</a:t>
            </a:r>
          </a:p>
        </p:txBody>
      </p:sp>
    </p:spTree>
    <p:extLst>
      <p:ext uri="{BB962C8B-B14F-4D97-AF65-F5344CB8AC3E}">
        <p14:creationId xmlns:p14="http://schemas.microsoft.com/office/powerpoint/2010/main" val="403736691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654024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278805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075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501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5690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4" y="228603"/>
            <a:ext cx="11151919" cy="91436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54" y="1447803"/>
            <a:ext cx="11151919" cy="25590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486526"/>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4272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84" y="223511"/>
            <a:ext cx="5046120" cy="908431"/>
          </a:xfrm>
          <a:prstGeom prst="rect">
            <a:avLst/>
          </a:prstGeom>
        </p:spPr>
      </p:pic>
    </p:spTree>
    <p:extLst>
      <p:ext uri="{BB962C8B-B14F-4D97-AF65-F5344CB8AC3E}">
        <p14:creationId xmlns:p14="http://schemas.microsoft.com/office/powerpoint/2010/main" val="143168916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67915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FEFEF"/>
              </a:solidFill>
              <a:effectLst/>
              <a:uLnTx/>
              <a:uFillTx/>
              <a:latin typeface="Segoe UI"/>
              <a:ea typeface="+mn-ea"/>
              <a:cs typeface="+mn-cs"/>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49" normalizeH="0" baseline="0" noProof="0" smtClean="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70937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2854250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6407654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1"/>
            <a:ext cx="11151917" cy="927940"/>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36299352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5613978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mj-lt"/>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81952567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152800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mj-lt"/>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6981700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04073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0090146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44872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39" y="308191"/>
            <a:ext cx="11151917" cy="927940"/>
          </a:xfrm>
          <a:prstGeom prst="rect">
            <a:avLst/>
          </a:prstGeom>
        </p:spPr>
        <p:txBody>
          <a:bodyPr lIns="143428" tIns="89642" rIns="143428" bIns="89642"/>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294" b="0" i="0" u="none" strike="noStrike" kern="1200" cap="none" spc="-100" normalizeH="0" baseline="0" noProof="0" dirty="0" smtClean="0">
                <a:ln w="3175">
                  <a:noFill/>
                </a:ln>
                <a:gradFill>
                  <a:gsLst>
                    <a:gs pos="1250">
                      <a:srgbClr val="505050"/>
                    </a:gs>
                    <a:gs pos="100000">
                      <a:srgbClr val="505050"/>
                    </a:gs>
                  </a:gsLst>
                  <a:lin ang="5400000" scaled="0"/>
                </a:gradFill>
                <a:effectLst/>
                <a:uLnTx/>
                <a:uFillTx/>
                <a:latin typeface="Segoe UI Light"/>
                <a:ea typeface="+mn-ea"/>
                <a:cs typeface="Arial" charset="0"/>
              </a:rPr>
              <a:t>Cloud, an ‘evolution’ for IT</a:t>
            </a:r>
            <a:endParaRPr kumimoji="0" lang="en-US" sz="5294"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Arial" charset="0"/>
            </a:endParaRPr>
          </a:p>
        </p:txBody>
      </p:sp>
    </p:spTree>
    <p:extLst>
      <p:ext uri="{BB962C8B-B14F-4D97-AF65-F5344CB8AC3E}">
        <p14:creationId xmlns:p14="http://schemas.microsoft.com/office/powerpoint/2010/main" val="10450240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4691543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68487354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342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243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8326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4" y="228603"/>
            <a:ext cx="11151919" cy="91436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54" y="1447803"/>
            <a:ext cx="11151919" cy="25590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1924746"/>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84" y="223511"/>
            <a:ext cx="5046120" cy="908431"/>
          </a:xfrm>
          <a:prstGeom prst="rect">
            <a:avLst/>
          </a:prstGeom>
        </p:spPr>
      </p:pic>
    </p:spTree>
    <p:extLst>
      <p:ext uri="{BB962C8B-B14F-4D97-AF65-F5344CB8AC3E}">
        <p14:creationId xmlns:p14="http://schemas.microsoft.com/office/powerpoint/2010/main" val="268467987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20066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smtClean="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6044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415392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736334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2611251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4613408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639862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174702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4653927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5723949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39641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492035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8969367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425044988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09197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05979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9225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65643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7654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751264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3614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606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73283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276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5808957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505050"/>
                    </a:gs>
                    <a:gs pos="100000">
                      <a:srgbClr val="505050"/>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1144939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40624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133" latinLnBrk="0"/>
            <a:r>
              <a:rPr lang="en-US" sz="1765" smtClean="0">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133" latinLnBrk="0"/>
            <a:fld id="{27258FFF-F925-446B-8502-81C933981705}" type="slidenum">
              <a:rPr lang="en-US" sz="1765" smtClean="0">
                <a:solidFill>
                  <a:srgbClr val="505050"/>
                </a:solidFill>
              </a:rPr>
              <a:pPr defTabSz="914133" latinLnBrk="0"/>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80977032"/>
      </p:ext>
    </p:extLst>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502671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9276" y="1447839"/>
            <a:ext cx="10245217" cy="1523497"/>
          </a:xfrm>
        </p:spPr>
        <p:txBody>
          <a:bodyPr>
            <a:noAutofit/>
          </a:bodyPr>
          <a:lstStyle>
            <a:lvl1pPr>
              <a:lnSpc>
                <a:spcPct val="90000"/>
              </a:lnSpc>
              <a:defRPr sz="4700" spc="-156" baseline="0">
                <a:effectLst>
                  <a:outerShdw blurRad="63500" algn="ctr" rotWithShape="0">
                    <a:schemeClr val="tx1">
                      <a:alpha val="60000"/>
                    </a:schemeClr>
                  </a:outerShdw>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519250" y="4343438"/>
            <a:ext cx="10245219" cy="463255"/>
          </a:xfrm>
        </p:spPr>
        <p:txBody>
          <a:bodyPr>
            <a:noAutofit/>
          </a:bodyPr>
          <a:lstStyle>
            <a:lvl1pPr marL="0" indent="0" algn="l">
              <a:lnSpc>
                <a:spcPct val="90000"/>
              </a:lnSpc>
              <a:spcBef>
                <a:spcPts val="0"/>
              </a:spcBef>
              <a:buNone/>
              <a:defRPr sz="1900" spc="-39" baseline="0">
                <a:gradFill>
                  <a:gsLst>
                    <a:gs pos="0">
                      <a:schemeClr val="tx1"/>
                    </a:gs>
                    <a:gs pos="86000">
                      <a:schemeClr val="tx1"/>
                    </a:gs>
                  </a:gsLst>
                  <a:lin ang="5400000" scaled="0"/>
                </a:gradFill>
                <a:effectLst>
                  <a:outerShdw blurRad="63500" algn="ctr" rotWithShape="0">
                    <a:schemeClr val="tx1">
                      <a:alpha val="60000"/>
                    </a:schemeClr>
                  </a:outerShdw>
                </a:effectLst>
              </a:defRPr>
            </a:lvl1pPr>
            <a:lvl2pPr marL="356555" indent="0" algn="ctr">
              <a:buNone/>
              <a:defRPr>
                <a:solidFill>
                  <a:schemeClr val="tx1">
                    <a:tint val="75000"/>
                  </a:schemeClr>
                </a:solidFill>
              </a:defRPr>
            </a:lvl2pPr>
            <a:lvl3pPr marL="713110" indent="0" algn="ctr">
              <a:buNone/>
              <a:defRPr>
                <a:solidFill>
                  <a:schemeClr val="tx1">
                    <a:tint val="75000"/>
                  </a:schemeClr>
                </a:solidFill>
              </a:defRPr>
            </a:lvl3pPr>
            <a:lvl4pPr marL="1069664" indent="0" algn="ctr">
              <a:buNone/>
              <a:defRPr>
                <a:solidFill>
                  <a:schemeClr val="tx1">
                    <a:tint val="75000"/>
                  </a:schemeClr>
                </a:solidFill>
              </a:defRPr>
            </a:lvl4pPr>
            <a:lvl5pPr marL="1426219" indent="0" algn="ctr">
              <a:buNone/>
              <a:defRPr>
                <a:solidFill>
                  <a:schemeClr val="tx1">
                    <a:tint val="75000"/>
                  </a:schemeClr>
                </a:solidFill>
              </a:defRPr>
            </a:lvl5pPr>
            <a:lvl6pPr marL="1782775" indent="0" algn="ctr">
              <a:buNone/>
              <a:defRPr>
                <a:solidFill>
                  <a:schemeClr val="tx1">
                    <a:tint val="75000"/>
                  </a:schemeClr>
                </a:solidFill>
              </a:defRPr>
            </a:lvl6pPr>
            <a:lvl7pPr marL="2139329" indent="0" algn="ctr">
              <a:buNone/>
              <a:defRPr>
                <a:solidFill>
                  <a:schemeClr val="tx1">
                    <a:tint val="75000"/>
                  </a:schemeClr>
                </a:solidFill>
              </a:defRPr>
            </a:lvl7pPr>
            <a:lvl8pPr marL="2495884" indent="0" algn="ctr">
              <a:buNone/>
              <a:defRPr>
                <a:solidFill>
                  <a:schemeClr val="tx1">
                    <a:tint val="75000"/>
                  </a:schemeClr>
                </a:solidFill>
              </a:defRPr>
            </a:lvl8pPr>
            <a:lvl9pPr marL="2852438"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0246603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9" y="1447801"/>
            <a:ext cx="11151917" cy="158197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39142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4552626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0042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47261087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background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296184" y="0"/>
            <a:ext cx="7895816" cy="6858000"/>
          </a:xfrm>
          <a:prstGeom prst="rect">
            <a:avLst/>
          </a:prstGeom>
        </p:spPr>
      </p:pic>
      <p:sp>
        <p:nvSpPr>
          <p:cNvPr id="3" name="Title 1"/>
          <p:cNvSpPr>
            <a:spLocks noGrp="1"/>
          </p:cNvSpPr>
          <p:nvPr>
            <p:ph type="title"/>
          </p:nvPr>
        </p:nvSpPr>
        <p:spPr>
          <a:xfrm>
            <a:off x="519274" y="4024424"/>
            <a:ext cx="3464417" cy="1024896"/>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485670669"/>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background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267201" y="0"/>
            <a:ext cx="7924799" cy="6859876"/>
          </a:xfrm>
          <a:prstGeom prst="rect">
            <a:avLst/>
          </a:prstGeom>
        </p:spPr>
      </p:pic>
      <p:sp>
        <p:nvSpPr>
          <p:cNvPr id="3" name="Title 1"/>
          <p:cNvSpPr>
            <a:spLocks noGrp="1"/>
          </p:cNvSpPr>
          <p:nvPr>
            <p:ph type="title"/>
          </p:nvPr>
        </p:nvSpPr>
        <p:spPr>
          <a:xfrm>
            <a:off x="519274" y="4024424"/>
            <a:ext cx="3464417" cy="1024896"/>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870818473"/>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background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238850" y="0"/>
            <a:ext cx="7953153" cy="6855296"/>
          </a:xfrm>
          <a:prstGeom prst="rect">
            <a:avLst/>
          </a:prstGeom>
        </p:spPr>
      </p:pic>
      <p:sp>
        <p:nvSpPr>
          <p:cNvPr id="3" name="Title 1"/>
          <p:cNvSpPr>
            <a:spLocks noGrp="1"/>
          </p:cNvSpPr>
          <p:nvPr>
            <p:ph type="title"/>
          </p:nvPr>
        </p:nvSpPr>
        <p:spPr>
          <a:xfrm>
            <a:off x="519274" y="4024424"/>
            <a:ext cx="3464417" cy="1024896"/>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739831557"/>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519248" y="1905507"/>
            <a:ext cx="11151916" cy="1523494"/>
          </a:xfrm>
        </p:spPr>
        <p:txBody>
          <a:bodyPr anchor="t" anchorCtr="0">
            <a:noAutofit/>
          </a:bodyPr>
          <a:lstStyle>
            <a:lvl1pPr>
              <a:lnSpc>
                <a:spcPct val="90000"/>
              </a:lnSpc>
              <a:defRPr sz="5998" spc="-200" baseline="0">
                <a:effectLst>
                  <a:outerShdw blurRad="63500" algn="ctr" rotWithShape="0">
                    <a:schemeClr val="tx1">
                      <a:alpha val="60000"/>
                    </a:schemeClr>
                  </a:outerShdw>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519248" y="4343439"/>
            <a:ext cx="11151916" cy="461665"/>
          </a:xfrm>
        </p:spPr>
        <p:txBody>
          <a:bodyPr>
            <a:noAutofit/>
          </a:bodyPr>
          <a:lstStyle>
            <a:lvl1pPr marL="0" indent="0" algn="l">
              <a:lnSpc>
                <a:spcPct val="90000"/>
              </a:lnSpc>
              <a:spcBef>
                <a:spcPts val="0"/>
              </a:spcBef>
              <a:buNone/>
              <a:defRPr sz="2400" spc="-50" baseline="0">
                <a:gradFill>
                  <a:gsLst>
                    <a:gs pos="0">
                      <a:schemeClr val="tx1"/>
                    </a:gs>
                    <a:gs pos="86000">
                      <a:schemeClr val="tx1"/>
                    </a:gs>
                  </a:gsLst>
                  <a:lin ang="5400000" scaled="0"/>
                </a:gradFill>
                <a:effectLst>
                  <a:outerShdw blurRad="63500" algn="ctr" rotWithShape="0">
                    <a:schemeClr val="tx1">
                      <a:alpha val="60000"/>
                    </a:schemeClr>
                  </a:outerShdw>
                </a:effectLst>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519248" y="229005"/>
            <a:ext cx="11151916" cy="997196"/>
          </a:xfrm>
        </p:spPr>
        <p:txBody>
          <a:bodyPr wrap="square" anchor="t" anchorCtr="0">
            <a:spAutoFit/>
            <a:scene3d>
              <a:camera prst="orthographicFront"/>
              <a:lightRig rig="flat" dir="t"/>
            </a:scene3d>
            <a:sp3d>
              <a:contourClr>
                <a:schemeClr val="tx2"/>
              </a:contourClr>
            </a:sp3d>
          </a:bodyPr>
          <a:lstStyle>
            <a:lvl1pPr marL="0" indent="0" algn="l">
              <a:buFont typeface="Arial" pitchFamily="34" charset="0"/>
              <a:buNone/>
              <a:defRPr kumimoji="0" lang="en-US" sz="7198" b="1" i="0" u="none" strike="noStrike" kern="1200" cap="none" spc="-600" normalizeH="0" baseline="0" noProof="0" dirty="0" smtClean="0">
                <a:ln w="11430"/>
                <a:gradFill>
                  <a:gsLst>
                    <a:gs pos="0">
                      <a:schemeClr val="tx1"/>
                    </a:gs>
                    <a:gs pos="88000">
                      <a:schemeClr val="tx1"/>
                    </a:gs>
                  </a:gsLst>
                  <a:lin ang="5400000"/>
                </a:gradFill>
                <a:effectLst/>
                <a:uLnTx/>
                <a:uFillTx/>
                <a:latin typeface="Segoe UI" pitchFamily="34" charset="0"/>
                <a:ea typeface="+mn-ea"/>
                <a:cs typeface="+mn-cs"/>
              </a:defRPr>
            </a:lvl1pPr>
          </a:lstStyle>
          <a:p>
            <a:pPr lvl="0"/>
            <a:r>
              <a:rPr lang="en-US" dirty="0" smtClean="0"/>
              <a:t>Click to…</a:t>
            </a:r>
          </a:p>
        </p:txBody>
      </p:sp>
    </p:spTree>
    <p:extLst>
      <p:ext uri="{BB962C8B-B14F-4D97-AF65-F5344CB8AC3E}">
        <p14:creationId xmlns:p14="http://schemas.microsoft.com/office/powerpoint/2010/main" val="4179716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ext Slide - Whit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914402" y="1130315"/>
            <a:ext cx="10972800" cy="498598"/>
          </a:xfrm>
          <a:prstGeom prst="rect">
            <a:avLst/>
          </a:prstGeom>
        </p:spPr>
        <p:txBody>
          <a:bodyPr/>
          <a:lstStyle>
            <a:lvl1pPr algn="l">
              <a:defRPr sz="3600">
                <a:solidFill>
                  <a:schemeClr val="tx1"/>
                </a:solidFill>
                <a:latin typeface="+mj-lt"/>
              </a:defRPr>
            </a:lvl1pPr>
          </a:lstStyle>
          <a:p>
            <a:r>
              <a:rPr lang="en-US" dirty="0" smtClean="0"/>
              <a:t>Headline Goes Here</a:t>
            </a:r>
            <a:endParaRPr lang="en-US" dirty="0"/>
          </a:p>
        </p:txBody>
      </p:sp>
      <p:sp>
        <p:nvSpPr>
          <p:cNvPr id="8" name="Text Placeholder 7"/>
          <p:cNvSpPr>
            <a:spLocks noGrp="1"/>
          </p:cNvSpPr>
          <p:nvPr>
            <p:ph type="body" sz="quarter" idx="10" hasCustomPrompt="1"/>
          </p:nvPr>
        </p:nvSpPr>
        <p:spPr>
          <a:xfrm>
            <a:off x="914402" y="1676400"/>
            <a:ext cx="7416801" cy="360099"/>
          </a:xfrm>
          <a:prstGeom prst="rect">
            <a:avLst/>
          </a:prstGeom>
        </p:spPr>
        <p:txBody>
          <a:bodyPr/>
          <a:lstStyle>
            <a:lvl1pPr marL="0" indent="0">
              <a:buNone/>
              <a:defRPr sz="2600">
                <a:solidFill>
                  <a:schemeClr val="accent1"/>
                </a:solidFill>
                <a:latin typeface="Segoe" pitchFamily="34" charset="0"/>
              </a:defRPr>
            </a:lvl1pPr>
          </a:lstStyle>
          <a:p>
            <a:pPr lvl="0"/>
            <a:r>
              <a:rPr lang="en-US" dirty="0" smtClean="0"/>
              <a:t>Subhead goes here</a:t>
            </a:r>
            <a:endParaRPr lang="en-US" dirty="0"/>
          </a:p>
        </p:txBody>
      </p:sp>
      <p:sp>
        <p:nvSpPr>
          <p:cNvPr id="7" name="Content Placeholder 6"/>
          <p:cNvSpPr>
            <a:spLocks noGrp="1"/>
          </p:cNvSpPr>
          <p:nvPr>
            <p:ph sz="quarter" idx="11"/>
          </p:nvPr>
        </p:nvSpPr>
        <p:spPr>
          <a:xfrm>
            <a:off x="914402" y="2209837"/>
            <a:ext cx="10972800" cy="1742015"/>
          </a:xfrm>
          <a:prstGeom prst="rect">
            <a:avLst/>
          </a:prstGeom>
        </p:spPr>
        <p:txBody>
          <a:bodyPr/>
          <a:lstStyle>
            <a:lvl1pPr>
              <a:defRPr sz="2800">
                <a:solidFill>
                  <a:schemeClr val="accent3">
                    <a:lumMod val="50000"/>
                  </a:schemeClr>
                </a:solidFill>
              </a:defRPr>
            </a:lvl1pPr>
            <a:lvl2pPr>
              <a:defRPr sz="2400">
                <a:solidFill>
                  <a:schemeClr val="accent3">
                    <a:lumMod val="50000"/>
                  </a:schemeClr>
                </a:solidFill>
              </a:defRPr>
            </a:lvl2pPr>
            <a:lvl3pPr>
              <a:defRPr sz="2000">
                <a:solidFill>
                  <a:schemeClr val="accent3">
                    <a:lumMod val="50000"/>
                  </a:schemeClr>
                </a:solidFill>
              </a:defRPr>
            </a:lvl3pPr>
            <a:lvl4pPr>
              <a:defRPr sz="1800">
                <a:solidFill>
                  <a:schemeClr val="accent3">
                    <a:lumMod val="50000"/>
                  </a:schemeClr>
                </a:solidFill>
              </a:defRPr>
            </a:lvl4pPr>
            <a:lvl5pPr>
              <a:defRPr sz="1800">
                <a:solidFill>
                  <a:schemeClr val="accent3">
                    <a:lumMod val="5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615663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section title slide">
    <p:spTree>
      <p:nvGrpSpPr>
        <p:cNvPr id="1" name=""/>
        <p:cNvGrpSpPr/>
        <p:nvPr/>
      </p:nvGrpSpPr>
      <p:grpSpPr>
        <a:xfrm>
          <a:off x="0" y="0"/>
          <a:ext cx="0" cy="0"/>
          <a:chOff x="0" y="0"/>
          <a:chExt cx="0" cy="0"/>
        </a:xfrm>
      </p:grpSpPr>
      <p:pic>
        <p:nvPicPr>
          <p:cNvPr id="3" name="Picture 2" descr="section_title_slide.png"/>
          <p:cNvPicPr>
            <a:picLocks noChangeAspect="1"/>
          </p:cNvPicPr>
          <p:nvPr userDrawn="1"/>
        </p:nvPicPr>
        <p:blipFill>
          <a:blip r:embed="rId2" cstate="print"/>
          <a:stretch>
            <a:fillRect/>
          </a:stretch>
        </p:blipFill>
        <p:spPr>
          <a:xfrm>
            <a:off x="-16933" y="-54818"/>
            <a:ext cx="12293601" cy="6925517"/>
          </a:xfrm>
          <a:prstGeom prst="rect">
            <a:avLst/>
          </a:prstGeom>
        </p:spPr>
      </p:pic>
    </p:spTree>
    <p:extLst>
      <p:ext uri="{BB962C8B-B14F-4D97-AF65-F5344CB8AC3E}">
        <p14:creationId xmlns:p14="http://schemas.microsoft.com/office/powerpoint/2010/main" val="4045044462"/>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3" y="5912754"/>
            <a:ext cx="1075699" cy="205873"/>
          </a:xfrm>
          <a:prstGeom prst="rect">
            <a:avLst/>
          </a:prstGeom>
        </p:spPr>
      </p:pic>
      <p:pic>
        <p:nvPicPr>
          <p:cNvPr id="4" name="Picture 3"/>
          <p:cNvPicPr>
            <a:picLocks noChangeAspect="1"/>
          </p:cNvPicPr>
          <p:nvPr userDrawn="1"/>
        </p:nvPicPr>
        <p:blipFill>
          <a:blip r:embed="rId3"/>
          <a:stretch>
            <a:fillRect/>
          </a:stretch>
        </p:blipFill>
        <p:spPr>
          <a:xfrm>
            <a:off x="1460414" y="1592813"/>
            <a:ext cx="9271173" cy="3672373"/>
          </a:xfrm>
          <a:prstGeom prst="rect">
            <a:avLst/>
          </a:prstGeom>
        </p:spPr>
      </p:pic>
    </p:spTree>
    <p:extLst>
      <p:ext uri="{BB962C8B-B14F-4D97-AF65-F5344CB8AC3E}">
        <p14:creationId xmlns:p14="http://schemas.microsoft.com/office/powerpoint/2010/main" val="4866482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6096000" y="1019411"/>
            <a:ext cx="5374293" cy="5090553"/>
          </a:xfrm>
          <a:prstGeom prst="rect">
            <a:avLst/>
          </a:prstGeom>
        </p:spPr>
      </p:pic>
    </p:spTree>
    <p:extLst>
      <p:ext uri="{BB962C8B-B14F-4D97-AF65-F5344CB8AC3E}">
        <p14:creationId xmlns:p14="http://schemas.microsoft.com/office/powerpoint/2010/main" val="15128607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stretch>
            <a:fillRect/>
          </a:stretch>
        </p:blipFill>
        <p:spPr>
          <a:xfrm>
            <a:off x="5942768" y="746575"/>
            <a:ext cx="5531719" cy="5364851"/>
          </a:xfrm>
          <a:prstGeom prst="rect">
            <a:avLst/>
          </a:prstGeom>
        </p:spPr>
      </p:pic>
    </p:spTree>
    <p:extLst>
      <p:ext uri="{BB962C8B-B14F-4D97-AF65-F5344CB8AC3E}">
        <p14:creationId xmlns:p14="http://schemas.microsoft.com/office/powerpoint/2010/main" val="26586726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4" name="Picture 3"/>
          <p:cNvPicPr>
            <a:picLocks noChangeAspect="1"/>
          </p:cNvPicPr>
          <p:nvPr userDrawn="1"/>
        </p:nvPicPr>
        <p:blipFill>
          <a:blip r:embed="rId3"/>
          <a:stretch>
            <a:fillRect/>
          </a:stretch>
        </p:blipFill>
        <p:spPr>
          <a:xfrm>
            <a:off x="6006358" y="291102"/>
            <a:ext cx="5378490" cy="5814171"/>
          </a:xfrm>
          <a:prstGeom prst="rect">
            <a:avLst/>
          </a:prstGeom>
        </p:spPr>
      </p:pic>
    </p:spTree>
    <p:extLst>
      <p:ext uri="{BB962C8B-B14F-4D97-AF65-F5344CB8AC3E}">
        <p14:creationId xmlns:p14="http://schemas.microsoft.com/office/powerpoint/2010/main" val="223300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3" Type="http://schemas.openxmlformats.org/officeDocument/2006/relationships/slideLayout" Target="../slideLayouts/slideLayout232.xml"/><Relationship Id="rId21" Type="http://schemas.openxmlformats.org/officeDocument/2006/relationships/tags" Target="../tags/tag1.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oleObject" Target="../embeddings/oleObject2.bin"/><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vmlDrawing" Target="../drawings/vmlDrawing1.v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image" Target="../media/image61.emf"/><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oleObject" Target="../embeddings/oleObject1.bin"/><Relationship Id="rId10" Type="http://schemas.openxmlformats.org/officeDocument/2006/relationships/slideLayout" Target="../slideLayouts/slideLayout239.xml"/><Relationship Id="rId19" Type="http://schemas.openxmlformats.org/officeDocument/2006/relationships/theme" Target="../theme/theme10.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tags" Target="../tags/tag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3" Type="http://schemas.openxmlformats.org/officeDocument/2006/relationships/slideLayout" Target="../slideLayouts/slideLayout250.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theme" Target="../theme/theme11.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3" Type="http://schemas.openxmlformats.org/officeDocument/2006/relationships/slideLayout" Target="../slideLayouts/slideLayout269.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2" Type="http://schemas.openxmlformats.org/officeDocument/2006/relationships/slideLayout" Target="../slideLayouts/slideLayout268.xml"/><Relationship Id="rId16" Type="http://schemas.openxmlformats.org/officeDocument/2006/relationships/image" Target="../media/image77.png"/><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5" Type="http://schemas.openxmlformats.org/officeDocument/2006/relationships/theme" Target="../theme/theme12.xml"/><Relationship Id="rId10" Type="http://schemas.openxmlformats.org/officeDocument/2006/relationships/slideLayout" Target="../slideLayouts/slideLayout276.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theme" Target="../theme/theme13.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3" Type="http://schemas.openxmlformats.org/officeDocument/2006/relationships/slideLayout" Target="../slideLayouts/slideLayout302.xml"/><Relationship Id="rId21" Type="http://schemas.openxmlformats.org/officeDocument/2006/relationships/theme" Target="../theme/theme14.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slideLayout" Target="../slideLayouts/slideLayout319.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10" Type="http://schemas.openxmlformats.org/officeDocument/2006/relationships/slideLayout" Target="../slideLayouts/slideLayout309.xml"/><Relationship Id="rId19" Type="http://schemas.openxmlformats.org/officeDocument/2006/relationships/slideLayout" Target="../slideLayouts/slideLayout318.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image" Target="../media/image5.png"/><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image" Target="../media/image10.jpeg"/><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theme" Target="../theme/theme5.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image" Target="../media/image5.png"/><Relationship Id="rId3" Type="http://schemas.openxmlformats.org/officeDocument/2006/relationships/slideLayout" Target="../slideLayouts/slideLayout98.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theme" Target="../theme/theme6.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theme" Target="../theme/theme7.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9" Type="http://schemas.openxmlformats.org/officeDocument/2006/relationships/slideLayout" Target="../slideLayouts/slideLayout188.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34" Type="http://schemas.openxmlformats.org/officeDocument/2006/relationships/slideLayout" Target="../slideLayouts/slideLayout183.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33" Type="http://schemas.openxmlformats.org/officeDocument/2006/relationships/slideLayout" Target="../slideLayouts/slideLayout182.xml"/><Relationship Id="rId38" Type="http://schemas.openxmlformats.org/officeDocument/2006/relationships/slideLayout" Target="../slideLayouts/slideLayout187.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29" Type="http://schemas.openxmlformats.org/officeDocument/2006/relationships/slideLayout" Target="../slideLayouts/slideLayout178.xml"/><Relationship Id="rId41" Type="http://schemas.openxmlformats.org/officeDocument/2006/relationships/image" Target="../media/image30.png"/><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slideLayout" Target="../slideLayouts/slideLayout181.xml"/><Relationship Id="rId37" Type="http://schemas.openxmlformats.org/officeDocument/2006/relationships/slideLayout" Target="../slideLayouts/slideLayout186.xml"/><Relationship Id="rId40" Type="http://schemas.openxmlformats.org/officeDocument/2006/relationships/theme" Target="../theme/theme8.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36" Type="http://schemas.openxmlformats.org/officeDocument/2006/relationships/slideLayout" Target="../slideLayouts/slideLayout185.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slideLayout" Target="../slideLayouts/slideLayout180.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 Id="rId35" Type="http://schemas.openxmlformats.org/officeDocument/2006/relationships/slideLayout" Target="../slideLayouts/slideLayout18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9" Type="http://schemas.openxmlformats.org/officeDocument/2006/relationships/slideLayout" Target="../slideLayouts/slideLayout227.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34" Type="http://schemas.openxmlformats.org/officeDocument/2006/relationships/slideLayout" Target="../slideLayouts/slideLayout222.xml"/><Relationship Id="rId42" Type="http://schemas.openxmlformats.org/officeDocument/2006/relationships/theme" Target="../theme/theme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33" Type="http://schemas.openxmlformats.org/officeDocument/2006/relationships/slideLayout" Target="../slideLayouts/slideLayout221.xml"/><Relationship Id="rId38" Type="http://schemas.openxmlformats.org/officeDocument/2006/relationships/slideLayout" Target="../slideLayouts/slideLayout226.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41" Type="http://schemas.openxmlformats.org/officeDocument/2006/relationships/slideLayout" Target="../slideLayouts/slideLayout229.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32" Type="http://schemas.openxmlformats.org/officeDocument/2006/relationships/slideLayout" Target="../slideLayouts/slideLayout220.xml"/><Relationship Id="rId37" Type="http://schemas.openxmlformats.org/officeDocument/2006/relationships/slideLayout" Target="../slideLayouts/slideLayout225.xml"/><Relationship Id="rId40" Type="http://schemas.openxmlformats.org/officeDocument/2006/relationships/slideLayout" Target="../slideLayouts/slideLayout228.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36" Type="http://schemas.openxmlformats.org/officeDocument/2006/relationships/slideLayout" Target="../slideLayouts/slideLayout224.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slideLayout" Target="../slideLayouts/slideLayout21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slideLayout" Target="../slideLayouts/slideLayout218.xml"/><Relationship Id="rId35" Type="http://schemas.openxmlformats.org/officeDocument/2006/relationships/slideLayout" Target="../slideLayouts/slideLayout223.xml"/><Relationship Id="rId43" Type="http://schemas.openxmlformats.org/officeDocument/2006/relationships/image" Target="../media/image4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8D9F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3"/>
          <a:stretch>
            <a:fillRect/>
          </a:stretch>
        </p:blipFill>
        <p:spPr>
          <a:xfrm>
            <a:off x="8755701" y="-1175754"/>
            <a:ext cx="3436299" cy="1167971"/>
          </a:xfrm>
          <a:prstGeom prst="rect">
            <a:avLst/>
          </a:prstGeom>
        </p:spPr>
      </p:pic>
    </p:spTree>
    <p:extLst>
      <p:ext uri="{BB962C8B-B14F-4D97-AF65-F5344CB8AC3E}">
        <p14:creationId xmlns:p14="http://schemas.microsoft.com/office/powerpoint/2010/main" val="19922459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00188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nvPr>
        </p:nvGraphicFramePr>
        <p:xfrm>
          <a:off x="1564" y="1559"/>
          <a:ext cx="1556" cy="1556"/>
        </p:xfrm>
        <a:graphic>
          <a:graphicData uri="http://schemas.openxmlformats.org/presentationml/2006/ole">
            <mc:AlternateContent xmlns:mc="http://schemas.openxmlformats.org/markup-compatibility/2006">
              <mc:Choice xmlns:v="urn:schemas-microsoft-com:vml" Requires="v">
                <p:oleObj spid="_x0000_s1064"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1564"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457200" y="252216"/>
            <a:ext cx="10971867" cy="661720"/>
          </a:xfrm>
          <a:prstGeom prst="rect">
            <a:avLst/>
          </a:prstGeom>
        </p:spPr>
        <p:txBody>
          <a:bodyPr vert="horz" lIns="149143" tIns="0" rIns="149143" bIns="0" rtlCol="0" anchor="ctr">
            <a:sp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11534"/>
            <a:ext cx="10971867" cy="4526343"/>
          </a:xfrm>
          <a:prstGeom prst="rect">
            <a:avLst/>
          </a:prstGeom>
        </p:spPr>
        <p:txBody>
          <a:bodyPr vert="horz" lIns="93212" tIns="46607" rIns="93212" bIns="46607"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5" name="Object 4" hidden="1"/>
          <p:cNvGraphicFramePr>
            <a:graphicFrameLocks noChangeAspect="1"/>
          </p:cNvGraphicFramePr>
          <p:nvPr>
            <p:custDataLst>
              <p:tags r:id="rId22"/>
            </p:custDataLst>
            <p:extLst/>
          </p:nvPr>
        </p:nvGraphicFramePr>
        <p:xfrm>
          <a:off x="1563" y="1558"/>
          <a:ext cx="1556" cy="1556"/>
        </p:xfrm>
        <a:graphic>
          <a:graphicData uri="http://schemas.openxmlformats.org/presentationml/2006/ole">
            <mc:AlternateContent xmlns:mc="http://schemas.openxmlformats.org/markup-compatibility/2006">
              <mc:Choice xmlns:v="urn:schemas-microsoft-com:vml" Requires="v">
                <p:oleObj spid="_x0000_s1065" name="think-cell Slide" r:id="rId25" imgW="270" imgH="270" progId="TCLayout.ActiveDocument.1">
                  <p:embed/>
                </p:oleObj>
              </mc:Choice>
              <mc:Fallback>
                <p:oleObj name="think-cell Slide" r:id="rId25" imgW="270" imgH="270" progId="TCLayout.ActiveDocument.1">
                  <p:embed/>
                  <p:pic>
                    <p:nvPicPr>
                      <p:cNvPr id="5" name="Object 4" hidden="1"/>
                      <p:cNvPicPr/>
                      <p:nvPr/>
                    </p:nvPicPr>
                    <p:blipFill>
                      <a:blip r:embed="rId24"/>
                      <a:stretch>
                        <a:fillRect/>
                      </a:stretch>
                    </p:blipFill>
                    <p:spPr>
                      <a:xfrm>
                        <a:off x="1563"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947940518"/>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2" r:id="rId12"/>
    <p:sldLayoutId id="2147483943" r:id="rId13"/>
    <p:sldLayoutId id="2147483944" r:id="rId14"/>
    <p:sldLayoutId id="2147483945" r:id="rId15"/>
    <p:sldLayoutId id="2147483946" r:id="rId16"/>
    <p:sldLayoutId id="2147483947" r:id="rId17"/>
    <p:sldLayoutId id="2147483948" r:id="rId18"/>
  </p:sldLayoutIdLst>
  <p:transition>
    <p:fade/>
  </p:transition>
  <p:txStyles>
    <p:titleStyle>
      <a:lvl1pPr algn="l" defTabSz="895581" rtl="0" eaLnBrk="1" latinLnBrk="0" hangingPunct="1">
        <a:spcBef>
          <a:spcPct val="0"/>
        </a:spcBef>
        <a:buNone/>
        <a:defRPr sz="4313" kern="1200">
          <a:solidFill>
            <a:schemeClr val="bg1"/>
          </a:solidFill>
          <a:latin typeface="Segoe UI Light" pitchFamily="34" charset="0"/>
          <a:ea typeface="+mj-ea"/>
          <a:cs typeface="+mj-cs"/>
        </a:defRPr>
      </a:lvl1pPr>
    </p:titleStyle>
    <p:bodyStyle>
      <a:lvl1pPr marL="335842" indent="-335842" algn="l" defTabSz="895581" rtl="0" eaLnBrk="1" latinLnBrk="0" hangingPunct="1">
        <a:spcBef>
          <a:spcPct val="20000"/>
        </a:spcBef>
        <a:buFont typeface="Arial" pitchFamily="34" charset="0"/>
        <a:buChar char="•"/>
        <a:defRPr sz="3235" kern="1200">
          <a:solidFill>
            <a:schemeClr val="bg1"/>
          </a:solidFill>
          <a:latin typeface="Segoe UI" pitchFamily="34" charset="0"/>
          <a:ea typeface="Segoe UI" pitchFamily="34" charset="0"/>
          <a:cs typeface="Segoe UI" pitchFamily="34" charset="0"/>
        </a:defRPr>
      </a:lvl1pPr>
      <a:lvl2pPr marL="727659" indent="-279869" algn="l" defTabSz="895581" rtl="0" eaLnBrk="1" latinLnBrk="0" hangingPunct="1">
        <a:spcBef>
          <a:spcPct val="20000"/>
        </a:spcBef>
        <a:buFont typeface="Arial" pitchFamily="34" charset="0"/>
        <a:buChar char="–"/>
        <a:defRPr sz="2843" kern="1200">
          <a:solidFill>
            <a:schemeClr val="bg1"/>
          </a:solidFill>
          <a:latin typeface="Segoe UI" pitchFamily="34" charset="0"/>
          <a:ea typeface="Segoe UI" pitchFamily="34" charset="0"/>
          <a:cs typeface="Segoe UI" pitchFamily="34" charset="0"/>
        </a:defRPr>
      </a:lvl2pPr>
      <a:lvl3pPr marL="1119476" indent="-223897" algn="l" defTabSz="895581"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7264" indent="-223897" algn="l" defTabSz="895581"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4pPr>
      <a:lvl5pPr marL="2015055" indent="-223897" algn="l" defTabSz="895581"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5pPr>
      <a:lvl6pPr marL="2462848"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0640"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58428"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6219" indent="-223897" algn="l" defTabSz="89558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5581" rtl="0" eaLnBrk="1" latinLnBrk="0" hangingPunct="1">
        <a:defRPr sz="1667" kern="1200">
          <a:solidFill>
            <a:schemeClr val="tx1"/>
          </a:solidFill>
          <a:latin typeface="+mn-lt"/>
          <a:ea typeface="+mn-ea"/>
          <a:cs typeface="+mn-cs"/>
        </a:defRPr>
      </a:lvl1pPr>
      <a:lvl2pPr marL="447789" algn="l" defTabSz="895581" rtl="0" eaLnBrk="1" latinLnBrk="0" hangingPunct="1">
        <a:defRPr sz="1667" kern="1200">
          <a:solidFill>
            <a:schemeClr val="tx1"/>
          </a:solidFill>
          <a:latin typeface="+mn-lt"/>
          <a:ea typeface="+mn-ea"/>
          <a:cs typeface="+mn-cs"/>
        </a:defRPr>
      </a:lvl2pPr>
      <a:lvl3pPr marL="895581" algn="l" defTabSz="895581" rtl="0" eaLnBrk="1" latinLnBrk="0" hangingPunct="1">
        <a:defRPr sz="1667" kern="1200">
          <a:solidFill>
            <a:schemeClr val="tx1"/>
          </a:solidFill>
          <a:latin typeface="+mn-lt"/>
          <a:ea typeface="+mn-ea"/>
          <a:cs typeface="+mn-cs"/>
        </a:defRPr>
      </a:lvl3pPr>
      <a:lvl4pPr marL="1343372" algn="l" defTabSz="895581" rtl="0" eaLnBrk="1" latinLnBrk="0" hangingPunct="1">
        <a:defRPr sz="1667" kern="1200">
          <a:solidFill>
            <a:schemeClr val="tx1"/>
          </a:solidFill>
          <a:latin typeface="+mn-lt"/>
          <a:ea typeface="+mn-ea"/>
          <a:cs typeface="+mn-cs"/>
        </a:defRPr>
      </a:lvl4pPr>
      <a:lvl5pPr marL="1791164" algn="l" defTabSz="895581" rtl="0" eaLnBrk="1" latinLnBrk="0" hangingPunct="1">
        <a:defRPr sz="1667" kern="1200">
          <a:solidFill>
            <a:schemeClr val="tx1"/>
          </a:solidFill>
          <a:latin typeface="+mn-lt"/>
          <a:ea typeface="+mn-ea"/>
          <a:cs typeface="+mn-cs"/>
        </a:defRPr>
      </a:lvl5pPr>
      <a:lvl6pPr marL="2238952" algn="l" defTabSz="895581" rtl="0" eaLnBrk="1" latinLnBrk="0" hangingPunct="1">
        <a:defRPr sz="1667" kern="1200">
          <a:solidFill>
            <a:schemeClr val="tx1"/>
          </a:solidFill>
          <a:latin typeface="+mn-lt"/>
          <a:ea typeface="+mn-ea"/>
          <a:cs typeface="+mn-cs"/>
        </a:defRPr>
      </a:lvl6pPr>
      <a:lvl7pPr marL="2686743" algn="l" defTabSz="895581" rtl="0" eaLnBrk="1" latinLnBrk="0" hangingPunct="1">
        <a:defRPr sz="1667" kern="1200">
          <a:solidFill>
            <a:schemeClr val="tx1"/>
          </a:solidFill>
          <a:latin typeface="+mn-lt"/>
          <a:ea typeface="+mn-ea"/>
          <a:cs typeface="+mn-cs"/>
        </a:defRPr>
      </a:lvl7pPr>
      <a:lvl8pPr marL="3134533" algn="l" defTabSz="895581" rtl="0" eaLnBrk="1" latinLnBrk="0" hangingPunct="1">
        <a:defRPr sz="1667" kern="1200">
          <a:solidFill>
            <a:schemeClr val="tx1"/>
          </a:solidFill>
          <a:latin typeface="+mn-lt"/>
          <a:ea typeface="+mn-ea"/>
          <a:cs typeface="+mn-cs"/>
        </a:defRPr>
      </a:lvl8pPr>
      <a:lvl9pPr marL="3582322" algn="l" defTabSz="895581" rtl="0" eaLnBrk="1" latinLnBrk="0" hangingPunct="1">
        <a:defRPr sz="16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38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en-US" dirty="0" smtClean="0"/>
              <a:t>Title</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en-US" dirty="0" smtClean="0"/>
              <a:t>Text</a:t>
            </a:r>
            <a:endParaRPr lang="ru-RU" dirty="0" smtClean="0"/>
          </a:p>
          <a:p>
            <a:pPr lvl="1"/>
            <a:r>
              <a:rPr lang="en-US" dirty="0" smtClean="0"/>
              <a:t>Text2</a:t>
            </a:r>
            <a:endParaRPr lang="ru-RU" dirty="0" smtClean="0"/>
          </a:p>
          <a:p>
            <a:pPr lvl="2"/>
            <a:r>
              <a:rPr lang="en-US" dirty="0" smtClean="0"/>
              <a:t>Text3</a:t>
            </a:r>
            <a:endParaRPr lang="ru-RU" dirty="0" smtClean="0"/>
          </a:p>
        </p:txBody>
      </p:sp>
    </p:spTree>
    <p:extLst>
      <p:ext uri="{BB962C8B-B14F-4D97-AF65-F5344CB8AC3E}">
        <p14:creationId xmlns:p14="http://schemas.microsoft.com/office/powerpoint/2010/main" val="3946460710"/>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Lst>
  <p:txStyles>
    <p:titleStyle>
      <a:lvl1pPr algn="l" defTabSz="914296"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573" indent="-228573" algn="l" defTabSz="914296" rtl="0" eaLnBrk="1" latinLnBrk="0" hangingPunct="1">
        <a:lnSpc>
          <a:spcPct val="90000"/>
        </a:lnSpc>
        <a:spcBef>
          <a:spcPts val="1800"/>
        </a:spcBef>
        <a:spcAft>
          <a:spcPts val="1000"/>
        </a:spcAft>
        <a:buFont typeface="Wingdings" panose="05000000000000000000" pitchFamily="2" charset="2"/>
        <a:buChar char="§"/>
        <a:defRPr sz="3200" kern="1200">
          <a:solidFill>
            <a:schemeClr val="accent6"/>
          </a:solidFill>
          <a:latin typeface="+mj-lt"/>
          <a:ea typeface="+mn-ea"/>
          <a:cs typeface="+mn-cs"/>
        </a:defRPr>
      </a:lvl1pPr>
      <a:lvl2pPr marL="685720" indent="-228573" algn="l" defTabSz="914296" rtl="0" eaLnBrk="1" latinLnBrk="0" hangingPunct="1">
        <a:lnSpc>
          <a:spcPct val="90000"/>
        </a:lnSpc>
        <a:spcBef>
          <a:spcPts val="800"/>
        </a:spcBef>
        <a:spcAft>
          <a:spcPts val="800"/>
        </a:spcAft>
        <a:buFont typeface="Wingdings" panose="05000000000000000000" pitchFamily="2" charset="2"/>
        <a:buChar char="§"/>
        <a:defRPr sz="2400" kern="1200">
          <a:solidFill>
            <a:schemeClr val="tx2"/>
          </a:solidFill>
          <a:latin typeface="+mj-lt"/>
          <a:ea typeface="+mn-ea"/>
          <a:cs typeface="+mn-cs"/>
        </a:defRPr>
      </a:lvl2pPr>
      <a:lvl3pPr marL="1142869" indent="-228573" algn="l" defTabSz="914296" rtl="0" eaLnBrk="1" latinLnBrk="0" hangingPunct="1">
        <a:lnSpc>
          <a:spcPct val="90000"/>
        </a:lnSpc>
        <a:spcBef>
          <a:spcPts val="600"/>
        </a:spcBef>
        <a:spcAft>
          <a:spcPts val="600"/>
        </a:spcAft>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016" indent="-228573" algn="l" defTabSz="914296"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163" indent="-228573" algn="l" defTabSz="914296"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312"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58"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05"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52" indent="-228573" algn="l" defTabSz="9142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296" rtl="0" eaLnBrk="1" latinLnBrk="0" hangingPunct="1">
        <a:defRPr sz="1800" kern="1200">
          <a:solidFill>
            <a:schemeClr val="tx1"/>
          </a:solidFill>
          <a:latin typeface="+mn-lt"/>
          <a:ea typeface="+mn-ea"/>
          <a:cs typeface="+mn-cs"/>
        </a:defRPr>
      </a:lvl1pPr>
      <a:lvl2pPr marL="457147"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2" algn="l" defTabSz="914296" rtl="0" eaLnBrk="1" latinLnBrk="0" hangingPunct="1">
        <a:defRPr sz="1800" kern="1200">
          <a:solidFill>
            <a:schemeClr val="tx1"/>
          </a:solidFill>
          <a:latin typeface="+mn-lt"/>
          <a:ea typeface="+mn-ea"/>
          <a:cs typeface="+mn-cs"/>
        </a:defRPr>
      </a:lvl4pPr>
      <a:lvl5pPr marL="1828589" algn="l" defTabSz="914296" rtl="0" eaLnBrk="1" latinLnBrk="0" hangingPunct="1">
        <a:defRPr sz="1800" kern="1200">
          <a:solidFill>
            <a:schemeClr val="tx1"/>
          </a:solidFill>
          <a:latin typeface="+mn-lt"/>
          <a:ea typeface="+mn-ea"/>
          <a:cs typeface="+mn-cs"/>
        </a:defRPr>
      </a:lvl5pPr>
      <a:lvl6pPr marL="2285736" algn="l" defTabSz="914296" rtl="0" eaLnBrk="1" latinLnBrk="0" hangingPunct="1">
        <a:defRPr sz="1800" kern="1200">
          <a:solidFill>
            <a:schemeClr val="tx1"/>
          </a:solidFill>
          <a:latin typeface="+mn-lt"/>
          <a:ea typeface="+mn-ea"/>
          <a:cs typeface="+mn-cs"/>
        </a:defRPr>
      </a:lvl6pPr>
      <a:lvl7pPr marL="2742885" algn="l" defTabSz="914296" rtl="0" eaLnBrk="1" latinLnBrk="0" hangingPunct="1">
        <a:defRPr sz="1800" kern="1200">
          <a:solidFill>
            <a:schemeClr val="tx1"/>
          </a:solidFill>
          <a:latin typeface="+mn-lt"/>
          <a:ea typeface="+mn-ea"/>
          <a:cs typeface="+mn-cs"/>
        </a:defRPr>
      </a:lvl7pPr>
      <a:lvl8pPr marL="3200032" algn="l" defTabSz="914296" rtl="0" eaLnBrk="1" latinLnBrk="0" hangingPunct="1">
        <a:defRPr sz="1800" kern="1200">
          <a:solidFill>
            <a:schemeClr val="tx1"/>
          </a:solidFill>
          <a:latin typeface="+mn-lt"/>
          <a:ea typeface="+mn-ea"/>
          <a:cs typeface="+mn-cs"/>
        </a:defRPr>
      </a:lvl8pPr>
      <a:lvl9pPr marL="3657179" algn="l" defTabSz="91429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233155345"/>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2" r:id="rId9"/>
    <p:sldLayoutId id="2147483983" r:id="rId10"/>
    <p:sldLayoutId id="2147483986" r:id="rId11"/>
    <p:sldLayoutId id="2147483988" r:id="rId12"/>
    <p:sldLayoutId id="2147483989" r:id="rId13"/>
    <p:sldLayoutId id="2147483990"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273404"/>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5850448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 id="2147484031"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995575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755666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14689902"/>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0"/>
            <a:ext cx="11151917" cy="5124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51" y="1447801"/>
            <a:ext cx="11151916" cy="158197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p:nvPr userDrawn="1"/>
        </p:nvSpPr>
        <p:spPr>
          <a:xfrm>
            <a:off x="9504864" y="6534690"/>
            <a:ext cx="1953288" cy="265009"/>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16A5D9">
                    <a:lumMod val="20000"/>
                    <a:lumOff val="80000"/>
                  </a:srgbClr>
                </a:solidFill>
                <a:effectLst/>
                <a:uLnTx/>
                <a:uFillTx/>
                <a:latin typeface="Segoe UI"/>
                <a:ea typeface="Segoe UI" pitchFamily="34" charset="0"/>
                <a:cs typeface="Segoe UI" pitchFamily="34" charset="0"/>
              </a:rPr>
              <a:t>Windows</a:t>
            </a:r>
            <a:r>
              <a:rPr kumimoji="0" lang="en-US" sz="1100" b="0" i="0" u="none" strike="noStrike" kern="1200" cap="none" spc="0" normalizeH="0" baseline="30000" noProof="0" dirty="0" smtClean="0">
                <a:ln>
                  <a:noFill/>
                </a:ln>
                <a:solidFill>
                  <a:srgbClr val="16A5D9">
                    <a:lumMod val="20000"/>
                    <a:lumOff val="80000"/>
                  </a:srgbClr>
                </a:solidFill>
                <a:effectLst/>
                <a:uLnTx/>
                <a:uFillTx/>
                <a:latin typeface="Segoe UI"/>
                <a:ea typeface="Segoe UI" pitchFamily="34" charset="0"/>
                <a:cs typeface="Segoe UI" pitchFamily="34" charset="0"/>
              </a:rPr>
              <a:t>®</a:t>
            </a:r>
            <a:r>
              <a:rPr kumimoji="0" lang="en-US" sz="1100" b="0" i="0" u="none" strike="noStrike" kern="1200" cap="none" spc="0" normalizeH="0" baseline="0" noProof="0" dirty="0" smtClean="0">
                <a:ln>
                  <a:noFill/>
                </a:ln>
                <a:solidFill>
                  <a:srgbClr val="16A5D9">
                    <a:lumMod val="20000"/>
                    <a:lumOff val="80000"/>
                  </a:srgbClr>
                </a:solidFill>
                <a:effectLst/>
                <a:uLnTx/>
                <a:uFillTx/>
                <a:latin typeface="Segoe UI"/>
                <a:ea typeface="Segoe UI" pitchFamily="34" charset="0"/>
                <a:cs typeface="Segoe UI" pitchFamily="34" charset="0"/>
              </a:rPr>
              <a:t> Azure™ Platform</a:t>
            </a:r>
          </a:p>
        </p:txBody>
      </p:sp>
    </p:spTree>
    <p:extLst>
      <p:ext uri="{BB962C8B-B14F-4D97-AF65-F5344CB8AC3E}">
        <p14:creationId xmlns:p14="http://schemas.microsoft.com/office/powerpoint/2010/main" val="1944552809"/>
      </p:ext>
    </p:extLst>
  </p:cSld>
  <p:clrMap bg1="dk1" tx1="lt1" bg2="dk2" tx2="lt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Lst>
  <p:transition>
    <p:fade/>
  </p:transition>
  <p:txStyles>
    <p:titleStyle>
      <a:lvl1pPr algn="l" defTabSz="713110" rtl="0" eaLnBrk="1" latinLnBrk="0" hangingPunct="1">
        <a:lnSpc>
          <a:spcPct val="90000"/>
        </a:lnSpc>
        <a:spcBef>
          <a:spcPct val="0"/>
        </a:spcBef>
        <a:buNone/>
        <a:defRPr lang="en-US" sz="3700" b="0" kern="1200" cap="none" spc="-156" baseline="0" dirty="0" smtClean="0">
          <a:ln w="3175">
            <a:noFill/>
          </a:ln>
          <a:gradFill flip="none" rotWithShape="1">
            <a:gsLst>
              <a:gs pos="0">
                <a:schemeClr val="tx1"/>
              </a:gs>
              <a:gs pos="86000">
                <a:schemeClr val="tx1"/>
              </a:gs>
            </a:gsLst>
            <a:lin ang="5400000" scaled="0"/>
            <a:tileRect/>
          </a:gradFill>
          <a:effectLst>
            <a:outerShdw blurRad="63500" algn="ctr" rotWithShape="0">
              <a:schemeClr val="tx1">
                <a:alpha val="50000"/>
              </a:schemeClr>
            </a:outerShdw>
          </a:effectLst>
          <a:latin typeface="+mj-lt"/>
          <a:ea typeface="+mn-ea"/>
          <a:cs typeface="Arial" charset="0"/>
        </a:defRPr>
      </a:lvl1pPr>
    </p:titleStyle>
    <p:bodyStyle>
      <a:lvl1pPr marL="311998" indent="-311998" algn="l" defTabSz="713110" rtl="0" eaLnBrk="1" latinLnBrk="0" hangingPunct="1">
        <a:lnSpc>
          <a:spcPct val="90000"/>
        </a:lnSpc>
        <a:spcBef>
          <a:spcPct val="20000"/>
        </a:spcBef>
        <a:buClr>
          <a:schemeClr val="tx2"/>
        </a:buClr>
        <a:buSzPct val="100000"/>
        <a:buFont typeface="Arial" pitchFamily="34" charset="0"/>
        <a:buChar char="•"/>
        <a:defRPr sz="2500" kern="1200">
          <a:gradFill>
            <a:gsLst>
              <a:gs pos="0">
                <a:schemeClr val="tx1"/>
              </a:gs>
              <a:gs pos="86000">
                <a:schemeClr val="tx1"/>
              </a:gs>
            </a:gsLst>
            <a:lin ang="5400000" scaled="0"/>
          </a:gradFill>
          <a:effectLst/>
          <a:latin typeface="+mn-lt"/>
          <a:ea typeface="+mn-ea"/>
          <a:cs typeface="+mn-cs"/>
        </a:defRPr>
      </a:lvl1pPr>
      <a:lvl2pPr marL="581900" indent="-269902" algn="l" defTabSz="713110" rtl="0" eaLnBrk="1" latinLnBrk="0" hangingPunct="1">
        <a:lnSpc>
          <a:spcPct val="90000"/>
        </a:lnSpc>
        <a:spcBef>
          <a:spcPct val="20000"/>
        </a:spcBef>
        <a:buClr>
          <a:schemeClr val="tx2"/>
        </a:buClr>
        <a:buSzPct val="100000"/>
        <a:buFont typeface="Arial" pitchFamily="34" charset="0"/>
        <a:buChar char="•"/>
        <a:defRPr sz="2200" kern="1200">
          <a:gradFill>
            <a:gsLst>
              <a:gs pos="0">
                <a:schemeClr val="tx1"/>
              </a:gs>
              <a:gs pos="86000">
                <a:schemeClr val="tx1"/>
              </a:gs>
            </a:gsLst>
            <a:lin ang="5400000" scaled="0"/>
          </a:gradFill>
          <a:effectLst/>
          <a:latin typeface="+mn-lt"/>
          <a:ea typeface="+mn-ea"/>
          <a:cs typeface="+mn-cs"/>
        </a:defRPr>
      </a:lvl2pPr>
      <a:lvl3pPr marL="844376" indent="-262474" algn="l" defTabSz="713110" rtl="0" eaLnBrk="1" latinLnBrk="0" hangingPunct="1">
        <a:lnSpc>
          <a:spcPct val="90000"/>
        </a:lnSpc>
        <a:spcBef>
          <a:spcPct val="20000"/>
        </a:spcBef>
        <a:buClr>
          <a:schemeClr val="tx2"/>
        </a:buClr>
        <a:buSzPct val="100000"/>
        <a:buFont typeface="Arial" pitchFamily="34" charset="0"/>
        <a:buChar char="•"/>
        <a:defRPr sz="1900" kern="1200">
          <a:gradFill>
            <a:gsLst>
              <a:gs pos="0">
                <a:schemeClr val="tx1"/>
              </a:gs>
              <a:gs pos="86000">
                <a:schemeClr val="tx1"/>
              </a:gs>
            </a:gsLst>
            <a:lin ang="5400000" scaled="0"/>
          </a:gradFill>
          <a:effectLst/>
          <a:latin typeface="+mn-lt"/>
          <a:ea typeface="+mn-ea"/>
          <a:cs typeface="+mn-cs"/>
        </a:defRPr>
      </a:lvl3pPr>
      <a:lvl4pPr marL="1072184" indent="-227808" algn="l" defTabSz="713110" rtl="0" eaLnBrk="1" latinLnBrk="0" hangingPunct="1">
        <a:lnSpc>
          <a:spcPct val="90000"/>
        </a:lnSpc>
        <a:spcBef>
          <a:spcPct val="20000"/>
        </a:spcBef>
        <a:buClr>
          <a:schemeClr val="tx2"/>
        </a:buClr>
        <a:buSzPct val="100000"/>
        <a:buFont typeface="Arial" pitchFamily="34" charset="0"/>
        <a:buChar char="•"/>
        <a:defRPr sz="1600" kern="1200">
          <a:gradFill>
            <a:gsLst>
              <a:gs pos="0">
                <a:schemeClr val="tx1"/>
              </a:gs>
              <a:gs pos="86000">
                <a:schemeClr val="tx1"/>
              </a:gs>
            </a:gsLst>
            <a:lin ang="5400000" scaled="0"/>
          </a:gradFill>
          <a:effectLst/>
          <a:latin typeface="+mn-lt"/>
          <a:ea typeface="+mn-ea"/>
          <a:cs typeface="+mn-cs"/>
        </a:defRPr>
      </a:lvl4pPr>
      <a:lvl5pPr marL="1295039" indent="-222857" algn="l" defTabSz="713110" rtl="0" eaLnBrk="1" latinLnBrk="0" hangingPunct="1">
        <a:lnSpc>
          <a:spcPct val="90000"/>
        </a:lnSpc>
        <a:spcBef>
          <a:spcPct val="20000"/>
        </a:spcBef>
        <a:buClr>
          <a:schemeClr val="tx2"/>
        </a:buClr>
        <a:buSzPct val="100000"/>
        <a:buFont typeface="Arial" pitchFamily="34" charset="0"/>
        <a:buChar char="•"/>
        <a:defRPr sz="1600" kern="1200">
          <a:gradFill>
            <a:gsLst>
              <a:gs pos="0">
                <a:schemeClr val="tx1"/>
              </a:gs>
              <a:gs pos="86000">
                <a:schemeClr val="tx1"/>
              </a:gs>
            </a:gsLst>
            <a:lin ang="5400000" scaled="0"/>
          </a:gradFill>
          <a:effectLst/>
          <a:latin typeface="+mn-lt"/>
          <a:ea typeface="+mn-ea"/>
          <a:cs typeface="+mn-cs"/>
        </a:defRPr>
      </a:lvl5pPr>
      <a:lvl6pPr marL="1961051"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317606"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674160"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030717" indent="-178277" algn="l" defTabSz="71311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13110" rtl="0" eaLnBrk="1" latinLnBrk="0" hangingPunct="1">
        <a:defRPr sz="1400" kern="1200">
          <a:solidFill>
            <a:schemeClr val="tx1"/>
          </a:solidFill>
          <a:latin typeface="+mn-lt"/>
          <a:ea typeface="+mn-ea"/>
          <a:cs typeface="+mn-cs"/>
        </a:defRPr>
      </a:lvl1pPr>
      <a:lvl2pPr marL="356555" algn="l" defTabSz="713110" rtl="0" eaLnBrk="1" latinLnBrk="0" hangingPunct="1">
        <a:defRPr sz="1400" kern="1200">
          <a:solidFill>
            <a:schemeClr val="tx1"/>
          </a:solidFill>
          <a:latin typeface="+mn-lt"/>
          <a:ea typeface="+mn-ea"/>
          <a:cs typeface="+mn-cs"/>
        </a:defRPr>
      </a:lvl2pPr>
      <a:lvl3pPr marL="713110" algn="l" defTabSz="713110" rtl="0" eaLnBrk="1" latinLnBrk="0" hangingPunct="1">
        <a:defRPr sz="1400" kern="1200">
          <a:solidFill>
            <a:schemeClr val="tx1"/>
          </a:solidFill>
          <a:latin typeface="+mn-lt"/>
          <a:ea typeface="+mn-ea"/>
          <a:cs typeface="+mn-cs"/>
        </a:defRPr>
      </a:lvl3pPr>
      <a:lvl4pPr marL="1069664" algn="l" defTabSz="713110" rtl="0" eaLnBrk="1" latinLnBrk="0" hangingPunct="1">
        <a:defRPr sz="1400" kern="1200">
          <a:solidFill>
            <a:schemeClr val="tx1"/>
          </a:solidFill>
          <a:latin typeface="+mn-lt"/>
          <a:ea typeface="+mn-ea"/>
          <a:cs typeface="+mn-cs"/>
        </a:defRPr>
      </a:lvl4pPr>
      <a:lvl5pPr marL="1426219" algn="l" defTabSz="713110" rtl="0" eaLnBrk="1" latinLnBrk="0" hangingPunct="1">
        <a:defRPr sz="1400" kern="1200">
          <a:solidFill>
            <a:schemeClr val="tx1"/>
          </a:solidFill>
          <a:latin typeface="+mn-lt"/>
          <a:ea typeface="+mn-ea"/>
          <a:cs typeface="+mn-cs"/>
        </a:defRPr>
      </a:lvl5pPr>
      <a:lvl6pPr marL="1782775" algn="l" defTabSz="713110" rtl="0" eaLnBrk="1" latinLnBrk="0" hangingPunct="1">
        <a:defRPr sz="1400" kern="1200">
          <a:solidFill>
            <a:schemeClr val="tx1"/>
          </a:solidFill>
          <a:latin typeface="+mn-lt"/>
          <a:ea typeface="+mn-ea"/>
          <a:cs typeface="+mn-cs"/>
        </a:defRPr>
      </a:lvl6pPr>
      <a:lvl7pPr marL="2139329" algn="l" defTabSz="713110" rtl="0" eaLnBrk="1" latinLnBrk="0" hangingPunct="1">
        <a:defRPr sz="1400" kern="1200">
          <a:solidFill>
            <a:schemeClr val="tx1"/>
          </a:solidFill>
          <a:latin typeface="+mn-lt"/>
          <a:ea typeface="+mn-ea"/>
          <a:cs typeface="+mn-cs"/>
        </a:defRPr>
      </a:lvl7pPr>
      <a:lvl8pPr marL="2495884" algn="l" defTabSz="713110" rtl="0" eaLnBrk="1" latinLnBrk="0" hangingPunct="1">
        <a:defRPr sz="1400" kern="1200">
          <a:solidFill>
            <a:schemeClr val="tx1"/>
          </a:solidFill>
          <a:latin typeface="+mn-lt"/>
          <a:ea typeface="+mn-ea"/>
          <a:cs typeface="+mn-cs"/>
        </a:defRPr>
      </a:lvl8pPr>
      <a:lvl9pPr marL="2852438" algn="l" defTabSz="71311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925127594"/>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8140638"/>
      </p:ext>
    </p:extLst>
  </p:cSld>
  <p:clrMap bg1="dk1" tx1="lt1" bg2="dk2" tx2="lt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970" r:id="rId1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888141897"/>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 id="2147483880" r:id="rId30"/>
    <p:sldLayoutId id="2147483881" r:id="rId31"/>
    <p:sldLayoutId id="2147483882" r:id="rId32"/>
    <p:sldLayoutId id="2147483883" r:id="rId33"/>
    <p:sldLayoutId id="2147483884" r:id="rId34"/>
    <p:sldLayoutId id="2147483885" r:id="rId35"/>
    <p:sldLayoutId id="2147483886" r:id="rId36"/>
    <p:sldLayoutId id="2147483887" r:id="rId37"/>
    <p:sldLayoutId id="2147483888" r:id="rId38"/>
    <p:sldLayoutId id="2147483889" r:id="rId3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ko-KR" altLang="en-US" smtClean="0"/>
              <a:t>마스터 제목 스타일 편집</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en-US" dirty="0"/>
          </a:p>
        </p:txBody>
      </p:sp>
      <p:pic>
        <p:nvPicPr>
          <p:cNvPr id="5" name="Picture 4"/>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586091246"/>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 id="2147483919" r:id="rId29"/>
    <p:sldLayoutId id="2147483920" r:id="rId30"/>
    <p:sldLayoutId id="2147483921" r:id="rId31"/>
    <p:sldLayoutId id="2147483922" r:id="rId32"/>
    <p:sldLayoutId id="2147483923" r:id="rId33"/>
    <p:sldLayoutId id="2147483924" r:id="rId34"/>
    <p:sldLayoutId id="2147483925" r:id="rId35"/>
    <p:sldLayoutId id="2147483926" r:id="rId36"/>
    <p:sldLayoutId id="2147483927" r:id="rId37"/>
    <p:sldLayoutId id="2147483928" r:id="rId38"/>
    <p:sldLayoutId id="2147483969" r:id="rId39"/>
    <p:sldLayoutId id="2147483971" r:id="rId40"/>
    <p:sldLayoutId id="2147484032" r:id="rId41"/>
  </p:sldLayoutIdLst>
  <p:transition>
    <p:fade/>
  </p:transition>
  <p:txStyles>
    <p:titleStyle>
      <a:lvl1pPr algn="l" defTabSz="914367" rtl="0" eaLnBrk="1" latinLnBrk="1"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1"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1"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1"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1"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1"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1"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1" hangingPunct="1">
        <a:defRPr sz="1765" kern="1200">
          <a:solidFill>
            <a:schemeClr val="tx1"/>
          </a:solidFill>
          <a:latin typeface="+mn-lt"/>
          <a:ea typeface="+mn-ea"/>
          <a:cs typeface="+mn-cs"/>
        </a:defRPr>
      </a:lvl1pPr>
      <a:lvl2pPr marL="457183" algn="l" defTabSz="914367" rtl="0" eaLnBrk="1" latinLnBrk="1" hangingPunct="1">
        <a:defRPr sz="1765" kern="1200">
          <a:solidFill>
            <a:schemeClr val="tx1"/>
          </a:solidFill>
          <a:latin typeface="+mn-lt"/>
          <a:ea typeface="+mn-ea"/>
          <a:cs typeface="+mn-cs"/>
        </a:defRPr>
      </a:lvl2pPr>
      <a:lvl3pPr marL="914367" algn="l" defTabSz="914367" rtl="0" eaLnBrk="1" latinLnBrk="1" hangingPunct="1">
        <a:defRPr sz="1765" kern="1200">
          <a:solidFill>
            <a:schemeClr val="tx1"/>
          </a:solidFill>
          <a:latin typeface="+mn-lt"/>
          <a:ea typeface="+mn-ea"/>
          <a:cs typeface="+mn-cs"/>
        </a:defRPr>
      </a:lvl3pPr>
      <a:lvl4pPr marL="1371550" algn="l" defTabSz="914367" rtl="0" eaLnBrk="1" latinLnBrk="1" hangingPunct="1">
        <a:defRPr sz="1765" kern="1200">
          <a:solidFill>
            <a:schemeClr val="tx1"/>
          </a:solidFill>
          <a:latin typeface="+mn-lt"/>
          <a:ea typeface="+mn-ea"/>
          <a:cs typeface="+mn-cs"/>
        </a:defRPr>
      </a:lvl4pPr>
      <a:lvl5pPr marL="1828734" algn="l" defTabSz="914367" rtl="0" eaLnBrk="1" latinLnBrk="1" hangingPunct="1">
        <a:defRPr sz="1765" kern="1200">
          <a:solidFill>
            <a:schemeClr val="tx1"/>
          </a:solidFill>
          <a:latin typeface="+mn-lt"/>
          <a:ea typeface="+mn-ea"/>
          <a:cs typeface="+mn-cs"/>
        </a:defRPr>
      </a:lvl5pPr>
      <a:lvl6pPr marL="2285918" algn="l" defTabSz="914367" rtl="0" eaLnBrk="1" latinLnBrk="1" hangingPunct="1">
        <a:defRPr sz="1765" kern="1200">
          <a:solidFill>
            <a:schemeClr val="tx1"/>
          </a:solidFill>
          <a:latin typeface="+mn-lt"/>
          <a:ea typeface="+mn-ea"/>
          <a:cs typeface="+mn-cs"/>
        </a:defRPr>
      </a:lvl6pPr>
      <a:lvl7pPr marL="2743101" algn="l" defTabSz="914367" rtl="0" eaLnBrk="1" latinLnBrk="1" hangingPunct="1">
        <a:defRPr sz="1765" kern="1200">
          <a:solidFill>
            <a:schemeClr val="tx1"/>
          </a:solidFill>
          <a:latin typeface="+mn-lt"/>
          <a:ea typeface="+mn-ea"/>
          <a:cs typeface="+mn-cs"/>
        </a:defRPr>
      </a:lvl7pPr>
      <a:lvl8pPr marL="3200284" algn="l" defTabSz="914367" rtl="0" eaLnBrk="1" latinLnBrk="1" hangingPunct="1">
        <a:defRPr sz="1765" kern="1200">
          <a:solidFill>
            <a:schemeClr val="tx1"/>
          </a:solidFill>
          <a:latin typeface="+mn-lt"/>
          <a:ea typeface="+mn-ea"/>
          <a:cs typeface="+mn-cs"/>
        </a:defRPr>
      </a:lvl8pPr>
      <a:lvl9pPr marL="3657469" algn="l" defTabSz="914367" rtl="0" eaLnBrk="1" latinLnBrk="1"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1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xml"/><Relationship Id="rId1" Type="http://schemas.openxmlformats.org/officeDocument/2006/relationships/slideLayout" Target="../slideLayouts/slideLayout228.xml"/><Relationship Id="rId4" Type="http://schemas.openxmlformats.org/officeDocument/2006/relationships/image" Target="../media/image135.png"/></Relationships>
</file>

<file path=ppt/slides/_rels/slide1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xml"/><Relationship Id="rId1" Type="http://schemas.openxmlformats.org/officeDocument/2006/relationships/slideLayout" Target="../slideLayouts/slideLayout227.xml"/></Relationships>
</file>

<file path=ppt/slides/_rels/slide1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notesSlide" Target="../notesSlides/notesSlide11.xml"/><Relationship Id="rId1" Type="http://schemas.openxmlformats.org/officeDocument/2006/relationships/slideLayout" Target="../slideLayouts/slideLayout32.xml"/><Relationship Id="rId4" Type="http://schemas.openxmlformats.org/officeDocument/2006/relationships/image" Target="../media/image138.emf"/></Relationships>
</file>

<file path=ppt/slides/_rels/slide16.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notesSlide" Target="../notesSlides/notesSlide12.xml"/><Relationship Id="rId1" Type="http://schemas.openxmlformats.org/officeDocument/2006/relationships/slideLayout" Target="../slideLayouts/slideLayout32.xml"/><Relationship Id="rId5" Type="http://schemas.openxmlformats.org/officeDocument/2006/relationships/image" Target="../media/image139.emf"/><Relationship Id="rId4" Type="http://schemas.openxmlformats.org/officeDocument/2006/relationships/image" Target="../media/image138.emf"/></Relationships>
</file>

<file path=ppt/slides/_rels/slide1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3.xml"/><Relationship Id="rId1" Type="http://schemas.openxmlformats.org/officeDocument/2006/relationships/slideLayout" Target="../slideLayouts/slideLayout111.xml"/></Relationships>
</file>

<file path=ppt/slides/_rels/slide1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4.xml"/><Relationship Id="rId1" Type="http://schemas.openxmlformats.org/officeDocument/2006/relationships/slideLayout" Target="../slideLayouts/slideLayout14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3" Type="http://schemas.openxmlformats.org/officeDocument/2006/relationships/hyperlink" Target="http://1drv.ms/1b1bvRX" TargetMode="External"/><Relationship Id="rId2" Type="http://schemas.openxmlformats.org/officeDocument/2006/relationships/hyperlink" Target="http://www.microsoftazurepass.com/" TargetMode="External"/><Relationship Id="rId1" Type="http://schemas.openxmlformats.org/officeDocument/2006/relationships/slideLayout" Target="../slideLayouts/slideLayout217.xml"/></Relationships>
</file>

<file path=ppt/slides/_rels/slide2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6.xml"/><Relationship Id="rId1" Type="http://schemas.openxmlformats.org/officeDocument/2006/relationships/slideLayout" Target="../slideLayouts/slideLayout26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8.xml"/></Relationships>
</file>

<file path=ppt/slides/_rels/slide22.xml.rels><?xml version="1.0" encoding="UTF-8" standalone="yes"?>
<Relationships xmlns="http://schemas.openxmlformats.org/package/2006/relationships"><Relationship Id="rId8" Type="http://schemas.openxmlformats.org/officeDocument/2006/relationships/image" Target="../media/image149.emf"/><Relationship Id="rId13" Type="http://schemas.openxmlformats.org/officeDocument/2006/relationships/image" Target="../media/image154.emf"/><Relationship Id="rId3" Type="http://schemas.openxmlformats.org/officeDocument/2006/relationships/image" Target="../media/image144.emf"/><Relationship Id="rId7" Type="http://schemas.openxmlformats.org/officeDocument/2006/relationships/image" Target="../media/image148.emf"/><Relationship Id="rId12" Type="http://schemas.openxmlformats.org/officeDocument/2006/relationships/image" Target="../media/image153.emf"/><Relationship Id="rId2" Type="http://schemas.openxmlformats.org/officeDocument/2006/relationships/image" Target="../media/image143.emf"/><Relationship Id="rId16" Type="http://schemas.openxmlformats.org/officeDocument/2006/relationships/image" Target="../media/image157.emf"/><Relationship Id="rId1" Type="http://schemas.openxmlformats.org/officeDocument/2006/relationships/slideLayout" Target="../slideLayouts/slideLayout276.xml"/><Relationship Id="rId6" Type="http://schemas.openxmlformats.org/officeDocument/2006/relationships/image" Target="../media/image147.emf"/><Relationship Id="rId11" Type="http://schemas.openxmlformats.org/officeDocument/2006/relationships/image" Target="../media/image152.png"/><Relationship Id="rId5" Type="http://schemas.openxmlformats.org/officeDocument/2006/relationships/image" Target="../media/image146.emf"/><Relationship Id="rId15" Type="http://schemas.openxmlformats.org/officeDocument/2006/relationships/image" Target="../media/image156.emf"/><Relationship Id="rId10" Type="http://schemas.openxmlformats.org/officeDocument/2006/relationships/image" Target="../media/image151.emf"/><Relationship Id="rId4" Type="http://schemas.openxmlformats.org/officeDocument/2006/relationships/image" Target="../media/image145.emf"/><Relationship Id="rId9" Type="http://schemas.openxmlformats.org/officeDocument/2006/relationships/image" Target="../media/image150.emf"/><Relationship Id="rId14" Type="http://schemas.openxmlformats.org/officeDocument/2006/relationships/image" Target="../media/image155.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0.xml"/></Relationships>
</file>

<file path=ppt/slides/_rels/slide24.xml.rels><?xml version="1.0" encoding="UTF-8" standalone="yes"?>
<Relationships xmlns="http://schemas.openxmlformats.org/package/2006/relationships"><Relationship Id="rId8" Type="http://schemas.openxmlformats.org/officeDocument/2006/relationships/image" Target="../media/image163.emf"/><Relationship Id="rId3" Type="http://schemas.openxmlformats.org/officeDocument/2006/relationships/image" Target="../media/image158.emf"/><Relationship Id="rId7" Type="http://schemas.openxmlformats.org/officeDocument/2006/relationships/image" Target="../media/image162.emf"/><Relationship Id="rId2" Type="http://schemas.openxmlformats.org/officeDocument/2006/relationships/notesSlide" Target="../notesSlides/notesSlide19.xml"/><Relationship Id="rId1" Type="http://schemas.openxmlformats.org/officeDocument/2006/relationships/slideLayout" Target="../slideLayouts/slideLayout274.xml"/><Relationship Id="rId6" Type="http://schemas.openxmlformats.org/officeDocument/2006/relationships/image" Target="../media/image161.emf"/><Relationship Id="rId5" Type="http://schemas.openxmlformats.org/officeDocument/2006/relationships/image" Target="../media/image160.emf"/><Relationship Id="rId4" Type="http://schemas.openxmlformats.org/officeDocument/2006/relationships/image" Target="../media/image159.emf"/><Relationship Id="rId9" Type="http://schemas.openxmlformats.org/officeDocument/2006/relationships/image" Target="../media/image16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0.xml"/></Relationships>
</file>

<file path=ppt/slides/_rels/slide26.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27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0.xml"/></Relationships>
</file>

<file path=ppt/slides/_rels/slide2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27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0.xml"/></Relationships>
</file>

<file path=ppt/slides/_rels/slide3.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image" Target="../media/image89.png"/><Relationship Id="rId1" Type="http://schemas.openxmlformats.org/officeDocument/2006/relationships/slideLayout" Target="../slideLayouts/slideLayout229.xml"/><Relationship Id="rId6" Type="http://schemas.openxmlformats.org/officeDocument/2006/relationships/image" Target="../media/image93.png"/><Relationship Id="rId5" Type="http://schemas.openxmlformats.org/officeDocument/2006/relationships/image" Target="../media/image92.jpg"/><Relationship Id="rId4" Type="http://schemas.openxmlformats.org/officeDocument/2006/relationships/image" Target="../media/image91.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7.xml"/></Relationships>
</file>

<file path=ppt/slides/_rels/slide32.xml.rels><?xml version="1.0" encoding="UTF-8" standalone="yes"?>
<Relationships xmlns="http://schemas.openxmlformats.org/package/2006/relationships"><Relationship Id="rId8" Type="http://schemas.openxmlformats.org/officeDocument/2006/relationships/image" Target="../media/image148.emf"/><Relationship Id="rId13" Type="http://schemas.openxmlformats.org/officeDocument/2006/relationships/image" Target="../media/image152.png"/><Relationship Id="rId3" Type="http://schemas.openxmlformats.org/officeDocument/2006/relationships/image" Target="../media/image143.emf"/><Relationship Id="rId7" Type="http://schemas.openxmlformats.org/officeDocument/2006/relationships/image" Target="../media/image147.emf"/><Relationship Id="rId12" Type="http://schemas.openxmlformats.org/officeDocument/2006/relationships/image" Target="../media/image151.emf"/><Relationship Id="rId17" Type="http://schemas.openxmlformats.org/officeDocument/2006/relationships/image" Target="../media/image157.emf"/><Relationship Id="rId2" Type="http://schemas.openxmlformats.org/officeDocument/2006/relationships/image" Target="../media/image167.emf"/><Relationship Id="rId16" Type="http://schemas.openxmlformats.org/officeDocument/2006/relationships/image" Target="../media/image150.emf"/><Relationship Id="rId1" Type="http://schemas.openxmlformats.org/officeDocument/2006/relationships/slideLayout" Target="../slideLayouts/slideLayout276.xml"/><Relationship Id="rId6" Type="http://schemas.openxmlformats.org/officeDocument/2006/relationships/image" Target="../media/image144.emf"/><Relationship Id="rId11" Type="http://schemas.openxmlformats.org/officeDocument/2006/relationships/image" Target="../media/image156.emf"/><Relationship Id="rId5" Type="http://schemas.openxmlformats.org/officeDocument/2006/relationships/image" Target="../media/image146.emf"/><Relationship Id="rId15" Type="http://schemas.openxmlformats.org/officeDocument/2006/relationships/image" Target="../media/image155.emf"/><Relationship Id="rId10" Type="http://schemas.openxmlformats.org/officeDocument/2006/relationships/image" Target="../media/image153.emf"/><Relationship Id="rId4" Type="http://schemas.openxmlformats.org/officeDocument/2006/relationships/image" Target="../media/image145.emf"/><Relationship Id="rId9" Type="http://schemas.openxmlformats.org/officeDocument/2006/relationships/image" Target="../media/image149.emf"/><Relationship Id="rId14" Type="http://schemas.openxmlformats.org/officeDocument/2006/relationships/image" Target="../media/image154.emf"/></Relationships>
</file>

<file path=ppt/slides/_rels/slide33.xml.rels><?xml version="1.0" encoding="UTF-8" standalone="yes"?>
<Relationships xmlns="http://schemas.openxmlformats.org/package/2006/relationships"><Relationship Id="rId8" Type="http://schemas.openxmlformats.org/officeDocument/2006/relationships/image" Target="../media/image153.emf"/><Relationship Id="rId13" Type="http://schemas.openxmlformats.org/officeDocument/2006/relationships/image" Target="../media/image155.emf"/><Relationship Id="rId3" Type="http://schemas.openxmlformats.org/officeDocument/2006/relationships/image" Target="../media/image143.emf"/><Relationship Id="rId7" Type="http://schemas.openxmlformats.org/officeDocument/2006/relationships/image" Target="../media/image149.emf"/><Relationship Id="rId12" Type="http://schemas.openxmlformats.org/officeDocument/2006/relationships/image" Target="../media/image154.emf"/><Relationship Id="rId17" Type="http://schemas.openxmlformats.org/officeDocument/2006/relationships/image" Target="../media/image157.emf"/><Relationship Id="rId2" Type="http://schemas.openxmlformats.org/officeDocument/2006/relationships/image" Target="../media/image167.emf"/><Relationship Id="rId16" Type="http://schemas.openxmlformats.org/officeDocument/2006/relationships/image" Target="../media/image150.emf"/><Relationship Id="rId1" Type="http://schemas.openxmlformats.org/officeDocument/2006/relationships/slideLayout" Target="../slideLayouts/slideLayout276.xml"/><Relationship Id="rId6" Type="http://schemas.openxmlformats.org/officeDocument/2006/relationships/image" Target="../media/image144.emf"/><Relationship Id="rId11" Type="http://schemas.openxmlformats.org/officeDocument/2006/relationships/image" Target="../media/image152.png"/><Relationship Id="rId5" Type="http://schemas.openxmlformats.org/officeDocument/2006/relationships/image" Target="../media/image146.emf"/><Relationship Id="rId15" Type="http://schemas.openxmlformats.org/officeDocument/2006/relationships/image" Target="../media/image148.emf"/><Relationship Id="rId10" Type="http://schemas.openxmlformats.org/officeDocument/2006/relationships/image" Target="../media/image151.emf"/><Relationship Id="rId4" Type="http://schemas.openxmlformats.org/officeDocument/2006/relationships/image" Target="../media/image145.emf"/><Relationship Id="rId9" Type="http://schemas.openxmlformats.org/officeDocument/2006/relationships/image" Target="../media/image156.emf"/><Relationship Id="rId14" Type="http://schemas.openxmlformats.org/officeDocument/2006/relationships/image" Target="../media/image147.emf"/></Relationships>
</file>

<file path=ppt/slides/_rels/slide34.xml.rels><?xml version="1.0" encoding="UTF-8" standalone="yes"?>
<Relationships xmlns="http://schemas.openxmlformats.org/package/2006/relationships"><Relationship Id="rId8" Type="http://schemas.openxmlformats.org/officeDocument/2006/relationships/image" Target="../media/image146.emf"/><Relationship Id="rId13" Type="http://schemas.openxmlformats.org/officeDocument/2006/relationships/image" Target="../media/image156.emf"/><Relationship Id="rId3" Type="http://schemas.openxmlformats.org/officeDocument/2006/relationships/image" Target="../media/image147.emf"/><Relationship Id="rId7" Type="http://schemas.openxmlformats.org/officeDocument/2006/relationships/image" Target="../media/image145.emf"/><Relationship Id="rId12" Type="http://schemas.openxmlformats.org/officeDocument/2006/relationships/image" Target="../media/image153.emf"/><Relationship Id="rId17" Type="http://schemas.openxmlformats.org/officeDocument/2006/relationships/image" Target="../media/image157.emf"/><Relationship Id="rId2" Type="http://schemas.openxmlformats.org/officeDocument/2006/relationships/image" Target="../media/image144.emf"/><Relationship Id="rId16" Type="http://schemas.openxmlformats.org/officeDocument/2006/relationships/image" Target="../media/image150.emf"/><Relationship Id="rId1" Type="http://schemas.openxmlformats.org/officeDocument/2006/relationships/slideLayout" Target="../slideLayouts/slideLayout276.xml"/><Relationship Id="rId6" Type="http://schemas.openxmlformats.org/officeDocument/2006/relationships/image" Target="../media/image143.emf"/><Relationship Id="rId11" Type="http://schemas.openxmlformats.org/officeDocument/2006/relationships/image" Target="../media/image152.png"/><Relationship Id="rId5" Type="http://schemas.openxmlformats.org/officeDocument/2006/relationships/image" Target="../media/image167.emf"/><Relationship Id="rId15" Type="http://schemas.openxmlformats.org/officeDocument/2006/relationships/image" Target="../media/image155.emf"/><Relationship Id="rId10" Type="http://schemas.openxmlformats.org/officeDocument/2006/relationships/image" Target="../media/image151.emf"/><Relationship Id="rId4" Type="http://schemas.openxmlformats.org/officeDocument/2006/relationships/image" Target="../media/image148.emf"/><Relationship Id="rId9" Type="http://schemas.openxmlformats.org/officeDocument/2006/relationships/image" Target="../media/image149.emf"/><Relationship Id="rId14" Type="http://schemas.openxmlformats.org/officeDocument/2006/relationships/image" Target="../media/image154.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7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71.xml"/></Relationships>
</file>

<file path=ppt/slides/_rels/slide38.xml.rels><?xml version="1.0" encoding="UTF-8" standalone="yes"?>
<Relationships xmlns="http://schemas.openxmlformats.org/package/2006/relationships"><Relationship Id="rId8" Type="http://schemas.openxmlformats.org/officeDocument/2006/relationships/image" Target="../media/image173.emf"/><Relationship Id="rId13" Type="http://schemas.openxmlformats.org/officeDocument/2006/relationships/image" Target="../media/image178.emf"/><Relationship Id="rId18" Type="http://schemas.openxmlformats.org/officeDocument/2006/relationships/image" Target="../media/image183.emf"/><Relationship Id="rId26" Type="http://schemas.openxmlformats.org/officeDocument/2006/relationships/image" Target="../media/image191.emf"/><Relationship Id="rId3" Type="http://schemas.openxmlformats.org/officeDocument/2006/relationships/image" Target="../media/image168.emf"/><Relationship Id="rId21" Type="http://schemas.openxmlformats.org/officeDocument/2006/relationships/image" Target="../media/image186.emf"/><Relationship Id="rId7" Type="http://schemas.openxmlformats.org/officeDocument/2006/relationships/image" Target="../media/image172.emf"/><Relationship Id="rId12" Type="http://schemas.openxmlformats.org/officeDocument/2006/relationships/image" Target="../media/image177.emf"/><Relationship Id="rId17" Type="http://schemas.openxmlformats.org/officeDocument/2006/relationships/image" Target="../media/image182.emf"/><Relationship Id="rId25" Type="http://schemas.openxmlformats.org/officeDocument/2006/relationships/image" Target="../media/image190.emf"/><Relationship Id="rId2" Type="http://schemas.openxmlformats.org/officeDocument/2006/relationships/notesSlide" Target="../notesSlides/notesSlide24.xml"/><Relationship Id="rId16" Type="http://schemas.openxmlformats.org/officeDocument/2006/relationships/image" Target="../media/image181.emf"/><Relationship Id="rId20" Type="http://schemas.openxmlformats.org/officeDocument/2006/relationships/image" Target="../media/image185.emf"/><Relationship Id="rId1" Type="http://schemas.openxmlformats.org/officeDocument/2006/relationships/slideLayout" Target="../slideLayouts/slideLayout279.xml"/><Relationship Id="rId6" Type="http://schemas.openxmlformats.org/officeDocument/2006/relationships/image" Target="../media/image171.emf"/><Relationship Id="rId11" Type="http://schemas.openxmlformats.org/officeDocument/2006/relationships/image" Target="../media/image176.png"/><Relationship Id="rId24" Type="http://schemas.openxmlformats.org/officeDocument/2006/relationships/image" Target="../media/image189.emf"/><Relationship Id="rId5" Type="http://schemas.openxmlformats.org/officeDocument/2006/relationships/image" Target="../media/image170.emf"/><Relationship Id="rId15" Type="http://schemas.openxmlformats.org/officeDocument/2006/relationships/image" Target="../media/image180.emf"/><Relationship Id="rId23" Type="http://schemas.openxmlformats.org/officeDocument/2006/relationships/image" Target="../media/image188.emf"/><Relationship Id="rId28" Type="http://schemas.openxmlformats.org/officeDocument/2006/relationships/image" Target="../media/image193.png"/><Relationship Id="rId10" Type="http://schemas.openxmlformats.org/officeDocument/2006/relationships/image" Target="../media/image175.png"/><Relationship Id="rId19" Type="http://schemas.openxmlformats.org/officeDocument/2006/relationships/image" Target="../media/image184.emf"/><Relationship Id="rId4" Type="http://schemas.openxmlformats.org/officeDocument/2006/relationships/image" Target="../media/image169.emf"/><Relationship Id="rId9" Type="http://schemas.openxmlformats.org/officeDocument/2006/relationships/image" Target="../media/image174.emf"/><Relationship Id="rId14" Type="http://schemas.openxmlformats.org/officeDocument/2006/relationships/image" Target="../media/image179.emf"/><Relationship Id="rId22" Type="http://schemas.openxmlformats.org/officeDocument/2006/relationships/image" Target="../media/image187.emf"/><Relationship Id="rId27" Type="http://schemas.openxmlformats.org/officeDocument/2006/relationships/image" Target="../media/image192.emf"/></Relationships>
</file>

<file path=ppt/slides/_rels/slide39.xml.rels><?xml version="1.0" encoding="UTF-8" standalone="yes"?>
<Relationships xmlns="http://schemas.openxmlformats.org/package/2006/relationships"><Relationship Id="rId3" Type="http://schemas.openxmlformats.org/officeDocument/2006/relationships/image" Target="../media/image195.jpeg"/><Relationship Id="rId2" Type="http://schemas.openxmlformats.org/officeDocument/2006/relationships/image" Target="../media/image194.png"/><Relationship Id="rId1" Type="http://schemas.openxmlformats.org/officeDocument/2006/relationships/slideLayout" Target="../slideLayouts/slideLayout316.xml"/><Relationship Id="rId4" Type="http://schemas.openxmlformats.org/officeDocument/2006/relationships/hyperlink" Target="mailto:msdream@Microsoft.com"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27.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94.png"/></Relationships>
</file>

<file path=ppt/slides/_rels/slide40.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25.xml"/><Relationship Id="rId1" Type="http://schemas.openxmlformats.org/officeDocument/2006/relationships/slideLayout" Target="../slideLayouts/slideLayout259.xml"/></Relationships>
</file>

<file path=ppt/slides/_rels/slide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jpg"/><Relationship Id="rId1" Type="http://schemas.openxmlformats.org/officeDocument/2006/relationships/slideLayout" Target="../slideLayouts/slideLayout227.xml"/></Relationships>
</file>

<file path=ppt/slides/_rels/slide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xml"/><Relationship Id="rId1" Type="http://schemas.openxmlformats.org/officeDocument/2006/relationships/slideLayout" Target="../slideLayouts/slideLayout287.xml"/><Relationship Id="rId5" Type="http://schemas.openxmlformats.org/officeDocument/2006/relationships/image" Target="../media/image99.jpeg"/><Relationship Id="rId4" Type="http://schemas.openxmlformats.org/officeDocument/2006/relationships/image" Target="../media/image98.jpeg"/></Relationships>
</file>

<file path=ppt/slides/_rels/slide7.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3.xml"/><Relationship Id="rId1" Type="http://schemas.openxmlformats.org/officeDocument/2006/relationships/slideLayout" Target="../slideLayouts/slideLayout287.xml"/><Relationship Id="rId4" Type="http://schemas.openxmlformats.org/officeDocument/2006/relationships/image" Target="../media/image100.jpeg"/></Relationships>
</file>

<file path=ppt/slides/_rels/slide8.xml.rels><?xml version="1.0" encoding="UTF-8" standalone="yes"?>
<Relationships xmlns="http://schemas.openxmlformats.org/package/2006/relationships"><Relationship Id="rId3" Type="http://schemas.openxmlformats.org/officeDocument/2006/relationships/hyperlink" Target="http://3.bp.blogspot.com/_btKW0FqhWqU/TChjoJyeRHI/AAAAAAAAAXw/noNYVYlxg-8/s1600/SQL+Azure+datacenter.jpg" TargetMode="External"/><Relationship Id="rId2" Type="http://schemas.openxmlformats.org/officeDocument/2006/relationships/notesSlide" Target="../notesSlides/notesSlide4.xml"/><Relationship Id="rId1" Type="http://schemas.openxmlformats.org/officeDocument/2006/relationships/slideLayout" Target="../slideLayouts/slideLayout287.xml"/><Relationship Id="rId6" Type="http://schemas.openxmlformats.org/officeDocument/2006/relationships/image" Target="../media/image103.jpeg"/><Relationship Id="rId5" Type="http://schemas.openxmlformats.org/officeDocument/2006/relationships/image" Target="../media/image102.jpeg"/><Relationship Id="rId4" Type="http://schemas.openxmlformats.org/officeDocument/2006/relationships/image" Target="../media/image101.jpeg"/></Relationships>
</file>

<file path=ppt/slides/_rels/slide9.xml.rels><?xml version="1.0" encoding="UTF-8" standalone="yes"?>
<Relationships xmlns="http://schemas.openxmlformats.org/package/2006/relationships"><Relationship Id="rId8" Type="http://schemas.openxmlformats.org/officeDocument/2006/relationships/image" Target="../media/image109.jpeg"/><Relationship Id="rId13" Type="http://schemas.openxmlformats.org/officeDocument/2006/relationships/image" Target="../media/image114.png"/><Relationship Id="rId18" Type="http://schemas.openxmlformats.org/officeDocument/2006/relationships/image" Target="../media/image119.png"/><Relationship Id="rId26" Type="http://schemas.openxmlformats.org/officeDocument/2006/relationships/image" Target="../media/image127.jpeg"/><Relationship Id="rId3" Type="http://schemas.openxmlformats.org/officeDocument/2006/relationships/image" Target="../media/image104.jpeg"/><Relationship Id="rId21" Type="http://schemas.openxmlformats.org/officeDocument/2006/relationships/image" Target="../media/image122.jpeg"/><Relationship Id="rId7" Type="http://schemas.openxmlformats.org/officeDocument/2006/relationships/image" Target="../media/image108.emf"/><Relationship Id="rId12" Type="http://schemas.openxmlformats.org/officeDocument/2006/relationships/image" Target="../media/image113.png"/><Relationship Id="rId17" Type="http://schemas.openxmlformats.org/officeDocument/2006/relationships/image" Target="../media/image118.jpeg"/><Relationship Id="rId25" Type="http://schemas.openxmlformats.org/officeDocument/2006/relationships/image" Target="../media/image126.jpeg"/><Relationship Id="rId2" Type="http://schemas.openxmlformats.org/officeDocument/2006/relationships/notesSlide" Target="../notesSlides/notesSlide5.xml"/><Relationship Id="rId16" Type="http://schemas.openxmlformats.org/officeDocument/2006/relationships/image" Target="../media/image117.png"/><Relationship Id="rId20" Type="http://schemas.openxmlformats.org/officeDocument/2006/relationships/image" Target="../media/image121.jpeg"/><Relationship Id="rId29" Type="http://schemas.openxmlformats.org/officeDocument/2006/relationships/image" Target="../media/image130.jpeg"/><Relationship Id="rId1" Type="http://schemas.openxmlformats.org/officeDocument/2006/relationships/slideLayout" Target="../slideLayouts/slideLayout111.xml"/><Relationship Id="rId6" Type="http://schemas.openxmlformats.org/officeDocument/2006/relationships/image" Target="../media/image107.jpeg"/><Relationship Id="rId11" Type="http://schemas.openxmlformats.org/officeDocument/2006/relationships/image" Target="../media/image112.png"/><Relationship Id="rId24" Type="http://schemas.openxmlformats.org/officeDocument/2006/relationships/image" Target="../media/image125.png"/><Relationship Id="rId32" Type="http://schemas.openxmlformats.org/officeDocument/2006/relationships/image" Target="../media/image133.jpeg"/><Relationship Id="rId5" Type="http://schemas.openxmlformats.org/officeDocument/2006/relationships/image" Target="../media/image106.jpeg"/><Relationship Id="rId15" Type="http://schemas.openxmlformats.org/officeDocument/2006/relationships/image" Target="../media/image116.png"/><Relationship Id="rId23" Type="http://schemas.openxmlformats.org/officeDocument/2006/relationships/image" Target="../media/image124.jpeg"/><Relationship Id="rId28" Type="http://schemas.openxmlformats.org/officeDocument/2006/relationships/image" Target="../media/image129.png"/><Relationship Id="rId10" Type="http://schemas.openxmlformats.org/officeDocument/2006/relationships/image" Target="../media/image111.png"/><Relationship Id="rId19" Type="http://schemas.openxmlformats.org/officeDocument/2006/relationships/image" Target="../media/image120.jpeg"/><Relationship Id="rId31" Type="http://schemas.openxmlformats.org/officeDocument/2006/relationships/image" Target="../media/image132.png"/><Relationship Id="rId4" Type="http://schemas.openxmlformats.org/officeDocument/2006/relationships/image" Target="../media/image105.jpg"/><Relationship Id="rId9" Type="http://schemas.openxmlformats.org/officeDocument/2006/relationships/image" Target="../media/image110.png"/><Relationship Id="rId14" Type="http://schemas.openxmlformats.org/officeDocument/2006/relationships/image" Target="../media/image115.jpeg"/><Relationship Id="rId22" Type="http://schemas.openxmlformats.org/officeDocument/2006/relationships/image" Target="../media/image123.jpeg"/><Relationship Id="rId27" Type="http://schemas.openxmlformats.org/officeDocument/2006/relationships/image" Target="../media/image128.png"/><Relationship Id="rId30" Type="http://schemas.openxmlformats.org/officeDocument/2006/relationships/image" Target="../media/image1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90"/>
          <p:cNvSpPr/>
          <p:nvPr/>
        </p:nvSpPr>
        <p:spPr bwMode="auto">
          <a:xfrm>
            <a:off x="7390165" y="1205164"/>
            <a:ext cx="2914796" cy="5659643"/>
          </a:xfrm>
          <a:custGeom>
            <a:avLst/>
            <a:gdLst>
              <a:gd name="connsiteX0" fmla="*/ 0 w 3898900"/>
              <a:gd name="connsiteY0" fmla="*/ 0 h 6413500"/>
              <a:gd name="connsiteX1" fmla="*/ 0 w 3898900"/>
              <a:gd name="connsiteY1" fmla="*/ 88900 h 6413500"/>
              <a:gd name="connsiteX2" fmla="*/ 660400 w 3898900"/>
              <a:gd name="connsiteY2" fmla="*/ 812800 h 6413500"/>
              <a:gd name="connsiteX3" fmla="*/ 1663700 w 3898900"/>
              <a:gd name="connsiteY3" fmla="*/ 812800 h 6413500"/>
              <a:gd name="connsiteX4" fmla="*/ 2362200 w 3898900"/>
              <a:gd name="connsiteY4" fmla="*/ 1282700 h 6413500"/>
              <a:gd name="connsiteX5" fmla="*/ 2362200 w 3898900"/>
              <a:gd name="connsiteY5" fmla="*/ 1803400 h 6413500"/>
              <a:gd name="connsiteX6" fmla="*/ 2933700 w 3898900"/>
              <a:gd name="connsiteY6" fmla="*/ 2374900 h 6413500"/>
              <a:gd name="connsiteX7" fmla="*/ 3314700 w 3898900"/>
              <a:gd name="connsiteY7" fmla="*/ 2387600 h 6413500"/>
              <a:gd name="connsiteX8" fmla="*/ 3898900 w 3898900"/>
              <a:gd name="connsiteY8" fmla="*/ 2908300 h 6413500"/>
              <a:gd name="connsiteX9" fmla="*/ 3886200 w 3898900"/>
              <a:gd name="connsiteY9" fmla="*/ 4203700 h 6413500"/>
              <a:gd name="connsiteX10" fmla="*/ 3327400 w 3898900"/>
              <a:gd name="connsiteY10" fmla="*/ 4775200 h 6413500"/>
              <a:gd name="connsiteX11" fmla="*/ 2921000 w 3898900"/>
              <a:gd name="connsiteY11" fmla="*/ 4762500 h 6413500"/>
              <a:gd name="connsiteX12" fmla="*/ 2374900 w 3898900"/>
              <a:gd name="connsiteY12" fmla="*/ 5219700 h 6413500"/>
              <a:gd name="connsiteX13" fmla="*/ 2349500 w 3898900"/>
              <a:gd name="connsiteY13"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2921508 w 3886708"/>
              <a:gd name="connsiteY5" fmla="*/ 2387092 h 6425692"/>
              <a:gd name="connsiteX6" fmla="*/ 3302508 w 3886708"/>
              <a:gd name="connsiteY6" fmla="*/ 2399792 h 6425692"/>
              <a:gd name="connsiteX7" fmla="*/ 3886708 w 3886708"/>
              <a:gd name="connsiteY7" fmla="*/ 2920492 h 6425692"/>
              <a:gd name="connsiteX8" fmla="*/ 3874008 w 3886708"/>
              <a:gd name="connsiteY8" fmla="*/ 4215892 h 6425692"/>
              <a:gd name="connsiteX9" fmla="*/ 3315208 w 3886708"/>
              <a:gd name="connsiteY9" fmla="*/ 4787392 h 6425692"/>
              <a:gd name="connsiteX10" fmla="*/ 2908808 w 3886708"/>
              <a:gd name="connsiteY10" fmla="*/ 4774692 h 6425692"/>
              <a:gd name="connsiteX11" fmla="*/ 2362708 w 3886708"/>
              <a:gd name="connsiteY11" fmla="*/ 5231892 h 6425692"/>
              <a:gd name="connsiteX12" fmla="*/ 2337308 w 3886708"/>
              <a:gd name="connsiteY12"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3302508 w 3886708"/>
              <a:gd name="connsiteY5" fmla="*/ 2399792 h 6425692"/>
              <a:gd name="connsiteX6" fmla="*/ 3886708 w 3886708"/>
              <a:gd name="connsiteY6" fmla="*/ 2920492 h 6425692"/>
              <a:gd name="connsiteX7" fmla="*/ 3874008 w 3886708"/>
              <a:gd name="connsiteY7" fmla="*/ 4215892 h 6425692"/>
              <a:gd name="connsiteX8" fmla="*/ 3315208 w 3886708"/>
              <a:gd name="connsiteY8" fmla="*/ 4787392 h 6425692"/>
              <a:gd name="connsiteX9" fmla="*/ 2908808 w 3886708"/>
              <a:gd name="connsiteY9" fmla="*/ 4774692 h 6425692"/>
              <a:gd name="connsiteX10" fmla="*/ 2362708 w 3886708"/>
              <a:gd name="connsiteY10" fmla="*/ 5231892 h 6425692"/>
              <a:gd name="connsiteX11" fmla="*/ 2337308 w 3886708"/>
              <a:gd name="connsiteY11"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3302508 w 3886708"/>
              <a:gd name="connsiteY5" fmla="*/ 2399792 h 6425692"/>
              <a:gd name="connsiteX6" fmla="*/ 3886708 w 3886708"/>
              <a:gd name="connsiteY6" fmla="*/ 2920492 h 6425692"/>
              <a:gd name="connsiteX7" fmla="*/ 3874008 w 3886708"/>
              <a:gd name="connsiteY7" fmla="*/ 4215892 h 6425692"/>
              <a:gd name="connsiteX8" fmla="*/ 3315208 w 3886708"/>
              <a:gd name="connsiteY8" fmla="*/ 4787392 h 6425692"/>
              <a:gd name="connsiteX9" fmla="*/ 2908808 w 3886708"/>
              <a:gd name="connsiteY9" fmla="*/ 4774692 h 6425692"/>
              <a:gd name="connsiteX10" fmla="*/ 2362708 w 3886708"/>
              <a:gd name="connsiteY10" fmla="*/ 5231892 h 6425692"/>
              <a:gd name="connsiteX11" fmla="*/ 2337308 w 3886708"/>
              <a:gd name="connsiteY11"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495923 w 3886708"/>
              <a:gd name="connsiteY3" fmla="*/ 1303803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243004 w 3886708"/>
              <a:gd name="connsiteY3" fmla="*/ 1339443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64220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85107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26548"/>
              <a:gd name="connsiteY0" fmla="*/ 0 h 6417154"/>
              <a:gd name="connsiteX1" fmla="*/ 486725 w 3726548"/>
              <a:gd name="connsiteY1" fmla="*/ 816454 h 6417154"/>
              <a:gd name="connsiteX2" fmla="*/ 1490025 w 3726548"/>
              <a:gd name="connsiteY2" fmla="*/ 816454 h 6417154"/>
              <a:gd name="connsiteX3" fmla="*/ 2375204 w 3726548"/>
              <a:gd name="connsiteY3" fmla="*/ 1286354 h 6417154"/>
              <a:gd name="connsiteX4" fmla="*/ 3251157 w 3726548"/>
              <a:gd name="connsiteY4" fmla="*/ 2391254 h 6417154"/>
              <a:gd name="connsiteX5" fmla="*/ 3725225 w 3726548"/>
              <a:gd name="connsiteY5" fmla="*/ 2911954 h 6417154"/>
              <a:gd name="connsiteX6" fmla="*/ 3712525 w 3726548"/>
              <a:gd name="connsiteY6" fmla="*/ 4207354 h 6417154"/>
              <a:gd name="connsiteX7" fmla="*/ 3156711 w 3726548"/>
              <a:gd name="connsiteY7" fmla="*/ 4773038 h 6417154"/>
              <a:gd name="connsiteX8" fmla="*/ 2747325 w 3726548"/>
              <a:gd name="connsiteY8" fmla="*/ 4766154 h 6417154"/>
              <a:gd name="connsiteX9" fmla="*/ 2201225 w 3726548"/>
              <a:gd name="connsiteY9" fmla="*/ 5223354 h 6417154"/>
              <a:gd name="connsiteX10" fmla="*/ 2190339 w 3726548"/>
              <a:gd name="connsiteY10" fmla="*/ 6417154 h 6417154"/>
              <a:gd name="connsiteX0" fmla="*/ 26358 w 3752906"/>
              <a:gd name="connsiteY0" fmla="*/ 0 h 6417154"/>
              <a:gd name="connsiteX1" fmla="*/ 513083 w 3752906"/>
              <a:gd name="connsiteY1" fmla="*/ 816454 h 6417154"/>
              <a:gd name="connsiteX2" fmla="*/ 1516383 w 3752906"/>
              <a:gd name="connsiteY2" fmla="*/ 816454 h 6417154"/>
              <a:gd name="connsiteX3" fmla="*/ 2401562 w 3752906"/>
              <a:gd name="connsiteY3" fmla="*/ 1286354 h 6417154"/>
              <a:gd name="connsiteX4" fmla="*/ 3277515 w 3752906"/>
              <a:gd name="connsiteY4" fmla="*/ 2391254 h 6417154"/>
              <a:gd name="connsiteX5" fmla="*/ 3751583 w 3752906"/>
              <a:gd name="connsiteY5" fmla="*/ 2911954 h 6417154"/>
              <a:gd name="connsiteX6" fmla="*/ 3738883 w 3752906"/>
              <a:gd name="connsiteY6" fmla="*/ 4207354 h 6417154"/>
              <a:gd name="connsiteX7" fmla="*/ 3183069 w 3752906"/>
              <a:gd name="connsiteY7" fmla="*/ 4773038 h 6417154"/>
              <a:gd name="connsiteX8" fmla="*/ 2773683 w 3752906"/>
              <a:gd name="connsiteY8" fmla="*/ 4766154 h 6417154"/>
              <a:gd name="connsiteX9" fmla="*/ 2227583 w 3752906"/>
              <a:gd name="connsiteY9" fmla="*/ 5223354 h 6417154"/>
              <a:gd name="connsiteX10" fmla="*/ 2216697 w 3752906"/>
              <a:gd name="connsiteY10" fmla="*/ 6417154 h 6417154"/>
              <a:gd name="connsiteX0" fmla="*/ 11982 w 3738530"/>
              <a:gd name="connsiteY0" fmla="*/ 0 h 6417154"/>
              <a:gd name="connsiteX1" fmla="*/ 498707 w 3738530"/>
              <a:gd name="connsiteY1" fmla="*/ 816454 h 6417154"/>
              <a:gd name="connsiteX2" fmla="*/ 1502007 w 3738530"/>
              <a:gd name="connsiteY2" fmla="*/ 816454 h 6417154"/>
              <a:gd name="connsiteX3" fmla="*/ 2387186 w 3738530"/>
              <a:gd name="connsiteY3" fmla="*/ 1286354 h 6417154"/>
              <a:gd name="connsiteX4" fmla="*/ 3263139 w 3738530"/>
              <a:gd name="connsiteY4" fmla="*/ 2391254 h 6417154"/>
              <a:gd name="connsiteX5" fmla="*/ 3737207 w 3738530"/>
              <a:gd name="connsiteY5" fmla="*/ 2911954 h 6417154"/>
              <a:gd name="connsiteX6" fmla="*/ 3724507 w 3738530"/>
              <a:gd name="connsiteY6" fmla="*/ 4207354 h 6417154"/>
              <a:gd name="connsiteX7" fmla="*/ 3168693 w 3738530"/>
              <a:gd name="connsiteY7" fmla="*/ 4773038 h 6417154"/>
              <a:gd name="connsiteX8" fmla="*/ 2759307 w 3738530"/>
              <a:gd name="connsiteY8" fmla="*/ 4766154 h 6417154"/>
              <a:gd name="connsiteX9" fmla="*/ 2213207 w 3738530"/>
              <a:gd name="connsiteY9" fmla="*/ 5223354 h 6417154"/>
              <a:gd name="connsiteX10" fmla="*/ 2202321 w 3738530"/>
              <a:gd name="connsiteY10" fmla="*/ 6417154 h 6417154"/>
              <a:gd name="connsiteX0" fmla="*/ 5254 w 3731802"/>
              <a:gd name="connsiteY0" fmla="*/ 0 h 6417154"/>
              <a:gd name="connsiteX1" fmla="*/ 491979 w 3731802"/>
              <a:gd name="connsiteY1" fmla="*/ 816454 h 6417154"/>
              <a:gd name="connsiteX2" fmla="*/ 1495279 w 3731802"/>
              <a:gd name="connsiteY2" fmla="*/ 816454 h 6417154"/>
              <a:gd name="connsiteX3" fmla="*/ 2380458 w 3731802"/>
              <a:gd name="connsiteY3" fmla="*/ 1286354 h 6417154"/>
              <a:gd name="connsiteX4" fmla="*/ 3256411 w 3731802"/>
              <a:gd name="connsiteY4" fmla="*/ 2391254 h 6417154"/>
              <a:gd name="connsiteX5" fmla="*/ 3730479 w 3731802"/>
              <a:gd name="connsiteY5" fmla="*/ 2911954 h 6417154"/>
              <a:gd name="connsiteX6" fmla="*/ 3717779 w 3731802"/>
              <a:gd name="connsiteY6" fmla="*/ 4207354 h 6417154"/>
              <a:gd name="connsiteX7" fmla="*/ 3161965 w 3731802"/>
              <a:gd name="connsiteY7" fmla="*/ 4773038 h 6417154"/>
              <a:gd name="connsiteX8" fmla="*/ 2752579 w 3731802"/>
              <a:gd name="connsiteY8" fmla="*/ 4766154 h 6417154"/>
              <a:gd name="connsiteX9" fmla="*/ 2206479 w 3731802"/>
              <a:gd name="connsiteY9" fmla="*/ 5223354 h 6417154"/>
              <a:gd name="connsiteX10" fmla="*/ 2195593 w 3731802"/>
              <a:gd name="connsiteY10" fmla="*/ 6417154 h 6417154"/>
              <a:gd name="connsiteX0" fmla="*/ 1984 w 3728532"/>
              <a:gd name="connsiteY0" fmla="*/ 0 h 6417154"/>
              <a:gd name="connsiteX1" fmla="*/ 488709 w 3728532"/>
              <a:gd name="connsiteY1" fmla="*/ 816454 h 6417154"/>
              <a:gd name="connsiteX2" fmla="*/ 1492009 w 3728532"/>
              <a:gd name="connsiteY2" fmla="*/ 816454 h 6417154"/>
              <a:gd name="connsiteX3" fmla="*/ 2377188 w 3728532"/>
              <a:gd name="connsiteY3" fmla="*/ 1286354 h 6417154"/>
              <a:gd name="connsiteX4" fmla="*/ 3253141 w 3728532"/>
              <a:gd name="connsiteY4" fmla="*/ 2391254 h 6417154"/>
              <a:gd name="connsiteX5" fmla="*/ 3727209 w 3728532"/>
              <a:gd name="connsiteY5" fmla="*/ 2911954 h 6417154"/>
              <a:gd name="connsiteX6" fmla="*/ 3714509 w 3728532"/>
              <a:gd name="connsiteY6" fmla="*/ 4207354 h 6417154"/>
              <a:gd name="connsiteX7" fmla="*/ 3158695 w 3728532"/>
              <a:gd name="connsiteY7" fmla="*/ 4773038 h 6417154"/>
              <a:gd name="connsiteX8" fmla="*/ 2749309 w 3728532"/>
              <a:gd name="connsiteY8" fmla="*/ 4766154 h 6417154"/>
              <a:gd name="connsiteX9" fmla="*/ 2203209 w 3728532"/>
              <a:gd name="connsiteY9" fmla="*/ 5223354 h 6417154"/>
              <a:gd name="connsiteX10" fmla="*/ 2192323 w 3728532"/>
              <a:gd name="connsiteY10" fmla="*/ 6417154 h 6417154"/>
              <a:gd name="connsiteX0" fmla="*/ 1984 w 3728532"/>
              <a:gd name="connsiteY0" fmla="*/ 0 h 6414246"/>
              <a:gd name="connsiteX1" fmla="*/ 488709 w 3728532"/>
              <a:gd name="connsiteY1" fmla="*/ 816454 h 6414246"/>
              <a:gd name="connsiteX2" fmla="*/ 1492009 w 3728532"/>
              <a:gd name="connsiteY2" fmla="*/ 816454 h 6414246"/>
              <a:gd name="connsiteX3" fmla="*/ 2377188 w 3728532"/>
              <a:gd name="connsiteY3" fmla="*/ 1286354 h 6414246"/>
              <a:gd name="connsiteX4" fmla="*/ 3253141 w 3728532"/>
              <a:gd name="connsiteY4" fmla="*/ 2391254 h 6414246"/>
              <a:gd name="connsiteX5" fmla="*/ 3727209 w 3728532"/>
              <a:gd name="connsiteY5" fmla="*/ 2911954 h 6414246"/>
              <a:gd name="connsiteX6" fmla="*/ 3714509 w 3728532"/>
              <a:gd name="connsiteY6" fmla="*/ 4207354 h 6414246"/>
              <a:gd name="connsiteX7" fmla="*/ 3158695 w 3728532"/>
              <a:gd name="connsiteY7" fmla="*/ 4773038 h 6414246"/>
              <a:gd name="connsiteX8" fmla="*/ 2749309 w 3728532"/>
              <a:gd name="connsiteY8" fmla="*/ 4766154 h 6414246"/>
              <a:gd name="connsiteX9" fmla="*/ 2203209 w 3728532"/>
              <a:gd name="connsiteY9" fmla="*/ 5223354 h 6414246"/>
              <a:gd name="connsiteX10" fmla="*/ 2198294 w 3728532"/>
              <a:gd name="connsiteY10" fmla="*/ 6414246 h 6414246"/>
              <a:gd name="connsiteX0" fmla="*/ 1984 w 3728532"/>
              <a:gd name="connsiteY0" fmla="*/ 0 h 6414246"/>
              <a:gd name="connsiteX1" fmla="*/ 488709 w 3728532"/>
              <a:gd name="connsiteY1" fmla="*/ 816454 h 6414246"/>
              <a:gd name="connsiteX2" fmla="*/ 1492009 w 3728532"/>
              <a:gd name="connsiteY2" fmla="*/ 816454 h 6414246"/>
              <a:gd name="connsiteX3" fmla="*/ 2377188 w 3728532"/>
              <a:gd name="connsiteY3" fmla="*/ 1286354 h 6414246"/>
              <a:gd name="connsiteX4" fmla="*/ 3253141 w 3728532"/>
              <a:gd name="connsiteY4" fmla="*/ 2391254 h 6414246"/>
              <a:gd name="connsiteX5" fmla="*/ 3727209 w 3728532"/>
              <a:gd name="connsiteY5" fmla="*/ 2911954 h 6414246"/>
              <a:gd name="connsiteX6" fmla="*/ 3714509 w 3728532"/>
              <a:gd name="connsiteY6" fmla="*/ 4207354 h 6414246"/>
              <a:gd name="connsiteX7" fmla="*/ 3158695 w 3728532"/>
              <a:gd name="connsiteY7" fmla="*/ 4773038 h 6414246"/>
              <a:gd name="connsiteX8" fmla="*/ 2749309 w 3728532"/>
              <a:gd name="connsiteY8" fmla="*/ 4766154 h 6414246"/>
              <a:gd name="connsiteX9" fmla="*/ 2203209 w 3728532"/>
              <a:gd name="connsiteY9" fmla="*/ 5223354 h 6414246"/>
              <a:gd name="connsiteX10" fmla="*/ 2204266 w 3728532"/>
              <a:gd name="connsiteY10" fmla="*/ 6414246 h 6414246"/>
              <a:gd name="connsiteX0" fmla="*/ 1984 w 3728532"/>
              <a:gd name="connsiteY0" fmla="*/ 0 h 6417154"/>
              <a:gd name="connsiteX1" fmla="*/ 488709 w 3728532"/>
              <a:gd name="connsiteY1" fmla="*/ 816454 h 6417154"/>
              <a:gd name="connsiteX2" fmla="*/ 1492009 w 3728532"/>
              <a:gd name="connsiteY2" fmla="*/ 816454 h 6417154"/>
              <a:gd name="connsiteX3" fmla="*/ 2377188 w 3728532"/>
              <a:gd name="connsiteY3" fmla="*/ 1286354 h 6417154"/>
              <a:gd name="connsiteX4" fmla="*/ 3253141 w 3728532"/>
              <a:gd name="connsiteY4" fmla="*/ 2391254 h 6417154"/>
              <a:gd name="connsiteX5" fmla="*/ 3727209 w 3728532"/>
              <a:gd name="connsiteY5" fmla="*/ 2911954 h 6417154"/>
              <a:gd name="connsiteX6" fmla="*/ 3714509 w 3728532"/>
              <a:gd name="connsiteY6" fmla="*/ 4207354 h 6417154"/>
              <a:gd name="connsiteX7" fmla="*/ 3158695 w 3728532"/>
              <a:gd name="connsiteY7" fmla="*/ 4773038 h 6417154"/>
              <a:gd name="connsiteX8" fmla="*/ 2749309 w 3728532"/>
              <a:gd name="connsiteY8" fmla="*/ 4766154 h 6417154"/>
              <a:gd name="connsiteX9" fmla="*/ 2203209 w 3728532"/>
              <a:gd name="connsiteY9" fmla="*/ 5223354 h 6417154"/>
              <a:gd name="connsiteX10" fmla="*/ 2201281 w 3728532"/>
              <a:gd name="connsiteY10" fmla="*/ 6417154 h 641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28532" h="6417154">
                <a:moveTo>
                  <a:pt x="1984" y="0"/>
                </a:moveTo>
                <a:cubicBezTo>
                  <a:pt x="288" y="277629"/>
                  <a:pt x="-50524" y="820945"/>
                  <a:pt x="488709" y="816454"/>
                </a:cubicBezTo>
                <a:lnTo>
                  <a:pt x="1492009" y="816454"/>
                </a:lnTo>
                <a:cubicBezTo>
                  <a:pt x="1993944" y="817428"/>
                  <a:pt x="2384525" y="831620"/>
                  <a:pt x="2377188" y="1286354"/>
                </a:cubicBezTo>
                <a:cubicBezTo>
                  <a:pt x="2402588" y="1968741"/>
                  <a:pt x="2211741" y="2476635"/>
                  <a:pt x="3253141" y="2391254"/>
                </a:cubicBezTo>
                <a:cubicBezTo>
                  <a:pt x="3717451" y="2361621"/>
                  <a:pt x="3735634" y="2716962"/>
                  <a:pt x="3727209" y="2911954"/>
                </a:cubicBezTo>
                <a:lnTo>
                  <a:pt x="3714509" y="4207354"/>
                </a:lnTo>
                <a:cubicBezTo>
                  <a:pt x="3741828" y="4664554"/>
                  <a:pt x="3467463" y="4776719"/>
                  <a:pt x="3158695" y="4773038"/>
                </a:cubicBezTo>
                <a:lnTo>
                  <a:pt x="2749309" y="4766154"/>
                </a:lnTo>
                <a:cubicBezTo>
                  <a:pt x="2287876" y="4748998"/>
                  <a:pt x="2207442" y="5109054"/>
                  <a:pt x="2203209" y="5223354"/>
                </a:cubicBezTo>
                <a:cubicBezTo>
                  <a:pt x="2199580" y="5621287"/>
                  <a:pt x="2204910" y="6019221"/>
                  <a:pt x="2201281" y="6417154"/>
                </a:cubicBezTo>
              </a:path>
            </a:pathLst>
          </a:custGeom>
          <a:noFill/>
          <a:ln w="1079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9" name="Freeform 91"/>
          <p:cNvSpPr/>
          <p:nvPr/>
        </p:nvSpPr>
        <p:spPr bwMode="auto">
          <a:xfrm>
            <a:off x="7256307" y="1204548"/>
            <a:ext cx="2280760" cy="5660260"/>
          </a:xfrm>
          <a:custGeom>
            <a:avLst/>
            <a:gdLst>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102188"/>
              <a:gd name="connsiteY0" fmla="*/ 0 h 6375400"/>
              <a:gd name="connsiteX1" fmla="*/ 3048000 w 3102188"/>
              <a:gd name="connsiteY1" fmla="*/ 1168400 h 6375400"/>
              <a:gd name="connsiteX2" fmla="*/ 2565400 w 3102188"/>
              <a:gd name="connsiteY2" fmla="*/ 1739900 h 6375400"/>
              <a:gd name="connsiteX3" fmla="*/ 736600 w 3102188"/>
              <a:gd name="connsiteY3" fmla="*/ 1727200 h 6375400"/>
              <a:gd name="connsiteX4" fmla="*/ 0 w 3102188"/>
              <a:gd name="connsiteY4" fmla="*/ 2235200 h 6375400"/>
              <a:gd name="connsiteX5" fmla="*/ 25400 w 3102188"/>
              <a:gd name="connsiteY5" fmla="*/ 2895600 h 6375400"/>
              <a:gd name="connsiteX6" fmla="*/ 685800 w 3102188"/>
              <a:gd name="connsiteY6" fmla="*/ 3365500 h 6375400"/>
              <a:gd name="connsiteX7" fmla="*/ 2463800 w 3102188"/>
              <a:gd name="connsiteY7" fmla="*/ 3365500 h 6375400"/>
              <a:gd name="connsiteX8" fmla="*/ 3098800 w 3102188"/>
              <a:gd name="connsiteY8" fmla="*/ 4013200 h 6375400"/>
              <a:gd name="connsiteX9" fmla="*/ 3073400 w 3102188"/>
              <a:gd name="connsiteY9" fmla="*/ 6375400 h 63754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51247 w 3118135"/>
              <a:gd name="connsiteY0" fmla="*/ 0 h 6438900"/>
              <a:gd name="connsiteX1" fmla="*/ 3063947 w 3118135"/>
              <a:gd name="connsiteY1" fmla="*/ 1231900 h 6438900"/>
              <a:gd name="connsiteX2" fmla="*/ 2581347 w 3118135"/>
              <a:gd name="connsiteY2" fmla="*/ 1803400 h 6438900"/>
              <a:gd name="connsiteX3" fmla="*/ 752547 w 3118135"/>
              <a:gd name="connsiteY3" fmla="*/ 1790700 h 6438900"/>
              <a:gd name="connsiteX4" fmla="*/ 15947 w 3118135"/>
              <a:gd name="connsiteY4" fmla="*/ 2298700 h 6438900"/>
              <a:gd name="connsiteX5" fmla="*/ 9597 w 3118135"/>
              <a:gd name="connsiteY5" fmla="*/ 2964929 h 6438900"/>
              <a:gd name="connsiteX6" fmla="*/ 701747 w 3118135"/>
              <a:gd name="connsiteY6" fmla="*/ 3429000 h 6438900"/>
              <a:gd name="connsiteX7" fmla="*/ 2479747 w 3118135"/>
              <a:gd name="connsiteY7" fmla="*/ 3429000 h 6438900"/>
              <a:gd name="connsiteX8" fmla="*/ 3114747 w 3118135"/>
              <a:gd name="connsiteY8" fmla="*/ 4076700 h 6438900"/>
              <a:gd name="connsiteX9" fmla="*/ 3089347 w 3118135"/>
              <a:gd name="connsiteY9" fmla="*/ 6438900 h 6438900"/>
              <a:gd name="connsiteX0" fmla="*/ 3041125 w 3108013"/>
              <a:gd name="connsiteY0" fmla="*/ 0 h 6438900"/>
              <a:gd name="connsiteX1" fmla="*/ 3053825 w 3108013"/>
              <a:gd name="connsiteY1" fmla="*/ 1231900 h 6438900"/>
              <a:gd name="connsiteX2" fmla="*/ 2571225 w 3108013"/>
              <a:gd name="connsiteY2" fmla="*/ 1803400 h 6438900"/>
              <a:gd name="connsiteX3" fmla="*/ 742425 w 3108013"/>
              <a:gd name="connsiteY3" fmla="*/ 1790700 h 6438900"/>
              <a:gd name="connsiteX4" fmla="*/ 5825 w 3108013"/>
              <a:gd name="connsiteY4" fmla="*/ 2298700 h 6438900"/>
              <a:gd name="connsiteX5" fmla="*/ 12175 w 3108013"/>
              <a:gd name="connsiteY5" fmla="*/ 2959100 h 6438900"/>
              <a:gd name="connsiteX6" fmla="*/ 691625 w 3108013"/>
              <a:gd name="connsiteY6" fmla="*/ 3429000 h 6438900"/>
              <a:gd name="connsiteX7" fmla="*/ 2469625 w 3108013"/>
              <a:gd name="connsiteY7" fmla="*/ 3429000 h 6438900"/>
              <a:gd name="connsiteX8" fmla="*/ 3104625 w 3108013"/>
              <a:gd name="connsiteY8" fmla="*/ 4076700 h 6438900"/>
              <a:gd name="connsiteX9" fmla="*/ 3079225 w 3108013"/>
              <a:gd name="connsiteY9" fmla="*/ 6438900 h 6438900"/>
              <a:gd name="connsiteX0" fmla="*/ 3036695 w 3103583"/>
              <a:gd name="connsiteY0" fmla="*/ 0 h 6438900"/>
              <a:gd name="connsiteX1" fmla="*/ 3049395 w 3103583"/>
              <a:gd name="connsiteY1" fmla="*/ 1231900 h 6438900"/>
              <a:gd name="connsiteX2" fmla="*/ 2566795 w 3103583"/>
              <a:gd name="connsiteY2" fmla="*/ 1803400 h 6438900"/>
              <a:gd name="connsiteX3" fmla="*/ 737995 w 3103583"/>
              <a:gd name="connsiteY3" fmla="*/ 1790700 h 6438900"/>
              <a:gd name="connsiteX4" fmla="*/ 1395 w 3103583"/>
              <a:gd name="connsiteY4" fmla="*/ 2298700 h 6438900"/>
              <a:gd name="connsiteX5" fmla="*/ 14095 w 3103583"/>
              <a:gd name="connsiteY5" fmla="*/ 2953272 h 6438900"/>
              <a:gd name="connsiteX6" fmla="*/ 687195 w 3103583"/>
              <a:gd name="connsiteY6" fmla="*/ 3429000 h 6438900"/>
              <a:gd name="connsiteX7" fmla="*/ 2465195 w 3103583"/>
              <a:gd name="connsiteY7" fmla="*/ 3429000 h 6438900"/>
              <a:gd name="connsiteX8" fmla="*/ 3100195 w 3103583"/>
              <a:gd name="connsiteY8" fmla="*/ 4076700 h 6438900"/>
              <a:gd name="connsiteX9" fmla="*/ 3074795 w 3103583"/>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945"/>
              <a:gd name="connsiteY0" fmla="*/ 0 h 6438900"/>
              <a:gd name="connsiteX1" fmla="*/ 3049244 w 3103945"/>
              <a:gd name="connsiteY1" fmla="*/ 1231900 h 6438900"/>
              <a:gd name="connsiteX2" fmla="*/ 2566644 w 3103945"/>
              <a:gd name="connsiteY2" fmla="*/ 1803400 h 6438900"/>
              <a:gd name="connsiteX3" fmla="*/ 737844 w 3103945"/>
              <a:gd name="connsiteY3" fmla="*/ 1790700 h 6438900"/>
              <a:gd name="connsiteX4" fmla="*/ 1244 w 3103945"/>
              <a:gd name="connsiteY4" fmla="*/ 2298700 h 6438900"/>
              <a:gd name="connsiteX5" fmla="*/ 4419 w 3103945"/>
              <a:gd name="connsiteY5" fmla="*/ 2979500 h 6438900"/>
              <a:gd name="connsiteX6" fmla="*/ 687044 w 3103945"/>
              <a:gd name="connsiteY6" fmla="*/ 3429000 h 6438900"/>
              <a:gd name="connsiteX7" fmla="*/ 2465044 w 3103945"/>
              <a:gd name="connsiteY7" fmla="*/ 3429000 h 6438900"/>
              <a:gd name="connsiteX8" fmla="*/ 3100044 w 3103945"/>
              <a:gd name="connsiteY8" fmla="*/ 4076700 h 6438900"/>
              <a:gd name="connsiteX9" fmla="*/ 3074644 w 3103945"/>
              <a:gd name="connsiteY9" fmla="*/ 6438900 h 6438900"/>
              <a:gd name="connsiteX0" fmla="*/ 3036544 w 3100051"/>
              <a:gd name="connsiteY0" fmla="*/ 0 h 6438900"/>
              <a:gd name="connsiteX1" fmla="*/ 3049244 w 3100051"/>
              <a:gd name="connsiteY1" fmla="*/ 1231900 h 6438900"/>
              <a:gd name="connsiteX2" fmla="*/ 2566644 w 3100051"/>
              <a:gd name="connsiteY2" fmla="*/ 1803400 h 6438900"/>
              <a:gd name="connsiteX3" fmla="*/ 737844 w 3100051"/>
              <a:gd name="connsiteY3" fmla="*/ 1790700 h 6438900"/>
              <a:gd name="connsiteX4" fmla="*/ 1244 w 3100051"/>
              <a:gd name="connsiteY4" fmla="*/ 2298700 h 6438900"/>
              <a:gd name="connsiteX5" fmla="*/ 4419 w 3100051"/>
              <a:gd name="connsiteY5" fmla="*/ 2979500 h 6438900"/>
              <a:gd name="connsiteX6" fmla="*/ 687044 w 3100051"/>
              <a:gd name="connsiteY6" fmla="*/ 3429000 h 6438900"/>
              <a:gd name="connsiteX7" fmla="*/ 2465044 w 3100051"/>
              <a:gd name="connsiteY7" fmla="*/ 3429000 h 6438900"/>
              <a:gd name="connsiteX8" fmla="*/ 3100044 w 3100051"/>
              <a:gd name="connsiteY8" fmla="*/ 4076700 h 6438900"/>
              <a:gd name="connsiteX9" fmla="*/ 3074644 w 3100051"/>
              <a:gd name="connsiteY9" fmla="*/ 6438900 h 6438900"/>
              <a:gd name="connsiteX0" fmla="*/ 3036544 w 3101558"/>
              <a:gd name="connsiteY0" fmla="*/ 0 h 6438900"/>
              <a:gd name="connsiteX1" fmla="*/ 3049244 w 3101558"/>
              <a:gd name="connsiteY1" fmla="*/ 1231900 h 6438900"/>
              <a:gd name="connsiteX2" fmla="*/ 2566644 w 3101558"/>
              <a:gd name="connsiteY2" fmla="*/ 1803400 h 6438900"/>
              <a:gd name="connsiteX3" fmla="*/ 737844 w 3101558"/>
              <a:gd name="connsiteY3" fmla="*/ 1790700 h 6438900"/>
              <a:gd name="connsiteX4" fmla="*/ 1244 w 3101558"/>
              <a:gd name="connsiteY4" fmla="*/ 2298700 h 6438900"/>
              <a:gd name="connsiteX5" fmla="*/ 4419 w 3101558"/>
              <a:gd name="connsiteY5" fmla="*/ 2979500 h 6438900"/>
              <a:gd name="connsiteX6" fmla="*/ 687044 w 3101558"/>
              <a:gd name="connsiteY6" fmla="*/ 3429000 h 6438900"/>
              <a:gd name="connsiteX7" fmla="*/ 2465044 w 3101558"/>
              <a:gd name="connsiteY7" fmla="*/ 3429000 h 6438900"/>
              <a:gd name="connsiteX8" fmla="*/ 3100044 w 3101558"/>
              <a:gd name="connsiteY8" fmla="*/ 4076700 h 6438900"/>
              <a:gd name="connsiteX9" fmla="*/ 3074644 w 3101558"/>
              <a:gd name="connsiteY9" fmla="*/ 6438900 h 6438900"/>
              <a:gd name="connsiteX0" fmla="*/ 3036544 w 3103280"/>
              <a:gd name="connsiteY0" fmla="*/ 0 h 6438900"/>
              <a:gd name="connsiteX1" fmla="*/ 3049244 w 3103280"/>
              <a:gd name="connsiteY1" fmla="*/ 1231900 h 6438900"/>
              <a:gd name="connsiteX2" fmla="*/ 2566644 w 3103280"/>
              <a:gd name="connsiteY2" fmla="*/ 1803400 h 6438900"/>
              <a:gd name="connsiteX3" fmla="*/ 737844 w 3103280"/>
              <a:gd name="connsiteY3" fmla="*/ 1790700 h 6438900"/>
              <a:gd name="connsiteX4" fmla="*/ 1244 w 3103280"/>
              <a:gd name="connsiteY4" fmla="*/ 2298700 h 6438900"/>
              <a:gd name="connsiteX5" fmla="*/ 4419 w 3103280"/>
              <a:gd name="connsiteY5" fmla="*/ 2979500 h 6438900"/>
              <a:gd name="connsiteX6" fmla="*/ 687044 w 3103280"/>
              <a:gd name="connsiteY6" fmla="*/ 3429000 h 6438900"/>
              <a:gd name="connsiteX7" fmla="*/ 2465044 w 3103280"/>
              <a:gd name="connsiteY7" fmla="*/ 3429000 h 6438900"/>
              <a:gd name="connsiteX8" fmla="*/ 3100044 w 3103280"/>
              <a:gd name="connsiteY8" fmla="*/ 4076700 h 6438900"/>
              <a:gd name="connsiteX9" fmla="*/ 3074644 w 3103280"/>
              <a:gd name="connsiteY9" fmla="*/ 6438900 h 6438900"/>
              <a:gd name="connsiteX0" fmla="*/ 3036544 w 3101558"/>
              <a:gd name="connsiteY0" fmla="*/ 0 h 6438900"/>
              <a:gd name="connsiteX1" fmla="*/ 3049244 w 3101558"/>
              <a:gd name="connsiteY1" fmla="*/ 1231900 h 6438900"/>
              <a:gd name="connsiteX2" fmla="*/ 2566644 w 3101558"/>
              <a:gd name="connsiteY2" fmla="*/ 1803400 h 6438900"/>
              <a:gd name="connsiteX3" fmla="*/ 737844 w 3101558"/>
              <a:gd name="connsiteY3" fmla="*/ 1790700 h 6438900"/>
              <a:gd name="connsiteX4" fmla="*/ 1244 w 3101558"/>
              <a:gd name="connsiteY4" fmla="*/ 2298700 h 6438900"/>
              <a:gd name="connsiteX5" fmla="*/ 4419 w 3101558"/>
              <a:gd name="connsiteY5" fmla="*/ 2979500 h 6438900"/>
              <a:gd name="connsiteX6" fmla="*/ 687044 w 3101558"/>
              <a:gd name="connsiteY6" fmla="*/ 3429000 h 6438900"/>
              <a:gd name="connsiteX7" fmla="*/ 2465044 w 3101558"/>
              <a:gd name="connsiteY7" fmla="*/ 3429000 h 6438900"/>
              <a:gd name="connsiteX8" fmla="*/ 3100044 w 3101558"/>
              <a:gd name="connsiteY8" fmla="*/ 4076700 h 6438900"/>
              <a:gd name="connsiteX9" fmla="*/ 3074644 w 3101558"/>
              <a:gd name="connsiteY9" fmla="*/ 6438900 h 6438900"/>
              <a:gd name="connsiteX0" fmla="*/ 3036544 w 3102432"/>
              <a:gd name="connsiteY0" fmla="*/ 0 h 6438900"/>
              <a:gd name="connsiteX1" fmla="*/ 3049244 w 3102432"/>
              <a:gd name="connsiteY1" fmla="*/ 1231900 h 6438900"/>
              <a:gd name="connsiteX2" fmla="*/ 2566644 w 3102432"/>
              <a:gd name="connsiteY2" fmla="*/ 1803400 h 6438900"/>
              <a:gd name="connsiteX3" fmla="*/ 737844 w 3102432"/>
              <a:gd name="connsiteY3" fmla="*/ 1790700 h 6438900"/>
              <a:gd name="connsiteX4" fmla="*/ 1244 w 3102432"/>
              <a:gd name="connsiteY4" fmla="*/ 2298700 h 6438900"/>
              <a:gd name="connsiteX5" fmla="*/ 4419 w 3102432"/>
              <a:gd name="connsiteY5" fmla="*/ 2979500 h 6438900"/>
              <a:gd name="connsiteX6" fmla="*/ 687044 w 3102432"/>
              <a:gd name="connsiteY6" fmla="*/ 3429000 h 6438900"/>
              <a:gd name="connsiteX7" fmla="*/ 2465044 w 3102432"/>
              <a:gd name="connsiteY7" fmla="*/ 3429000 h 6438900"/>
              <a:gd name="connsiteX8" fmla="*/ 3100044 w 3102432"/>
              <a:gd name="connsiteY8" fmla="*/ 4076700 h 6438900"/>
              <a:gd name="connsiteX9" fmla="*/ 3074644 w 3102432"/>
              <a:gd name="connsiteY9" fmla="*/ 6438900 h 6438900"/>
              <a:gd name="connsiteX0" fmla="*/ 3036544 w 3102432"/>
              <a:gd name="connsiteY0" fmla="*/ 0 h 6438900"/>
              <a:gd name="connsiteX1" fmla="*/ 3049244 w 3102432"/>
              <a:gd name="connsiteY1" fmla="*/ 1231900 h 6438900"/>
              <a:gd name="connsiteX2" fmla="*/ 2566644 w 3102432"/>
              <a:gd name="connsiteY2" fmla="*/ 1803400 h 6438900"/>
              <a:gd name="connsiteX3" fmla="*/ 737844 w 3102432"/>
              <a:gd name="connsiteY3" fmla="*/ 1790700 h 6438900"/>
              <a:gd name="connsiteX4" fmla="*/ 1244 w 3102432"/>
              <a:gd name="connsiteY4" fmla="*/ 2298700 h 6438900"/>
              <a:gd name="connsiteX5" fmla="*/ 4419 w 3102432"/>
              <a:gd name="connsiteY5" fmla="*/ 2979500 h 6438900"/>
              <a:gd name="connsiteX6" fmla="*/ 687044 w 3102432"/>
              <a:gd name="connsiteY6" fmla="*/ 3429000 h 6438900"/>
              <a:gd name="connsiteX7" fmla="*/ 2465044 w 3102432"/>
              <a:gd name="connsiteY7" fmla="*/ 3429000 h 6438900"/>
              <a:gd name="connsiteX8" fmla="*/ 3100044 w 3102432"/>
              <a:gd name="connsiteY8" fmla="*/ 4076700 h 6438900"/>
              <a:gd name="connsiteX9" fmla="*/ 3074644 w 3102432"/>
              <a:gd name="connsiteY9" fmla="*/ 6438900 h 643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2432" h="6438900">
                <a:moveTo>
                  <a:pt x="3036544" y="0"/>
                </a:moveTo>
                <a:lnTo>
                  <a:pt x="3049244" y="1231900"/>
                </a:lnTo>
                <a:cubicBezTo>
                  <a:pt x="3047127" y="1606028"/>
                  <a:pt x="2918011" y="1818799"/>
                  <a:pt x="2566644" y="1803400"/>
                </a:cubicBezTo>
                <a:lnTo>
                  <a:pt x="737844" y="1790700"/>
                </a:lnTo>
                <a:cubicBezTo>
                  <a:pt x="200211" y="1783888"/>
                  <a:pt x="-1684" y="1930370"/>
                  <a:pt x="1244" y="2298700"/>
                </a:cubicBezTo>
                <a:cubicBezTo>
                  <a:pt x="9711" y="2608119"/>
                  <a:pt x="-7628" y="2688496"/>
                  <a:pt x="4419" y="2979500"/>
                </a:cubicBezTo>
                <a:cubicBezTo>
                  <a:pt x="2302" y="3267703"/>
                  <a:pt x="98611" y="3416240"/>
                  <a:pt x="687044" y="3429000"/>
                </a:cubicBezTo>
                <a:lnTo>
                  <a:pt x="2465044" y="3429000"/>
                </a:lnTo>
                <a:cubicBezTo>
                  <a:pt x="3057711" y="3432527"/>
                  <a:pt x="3116977" y="3716748"/>
                  <a:pt x="3100044" y="4076700"/>
                </a:cubicBezTo>
                <a:lnTo>
                  <a:pt x="3074644" y="6438900"/>
                </a:lnTo>
              </a:path>
            </a:pathLst>
          </a:custGeom>
          <a:noFill/>
          <a:ln w="1079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 name="Freeform 92"/>
          <p:cNvSpPr/>
          <p:nvPr/>
        </p:nvSpPr>
        <p:spPr bwMode="auto">
          <a:xfrm>
            <a:off x="9921938" y="293506"/>
            <a:ext cx="746915" cy="1371099"/>
          </a:xfrm>
          <a:custGeom>
            <a:avLst/>
            <a:gdLst>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0 w 1016000"/>
              <a:gd name="connsiteY0" fmla="*/ 0 h 1524000"/>
              <a:gd name="connsiteX1" fmla="*/ 0 w 1016000"/>
              <a:gd name="connsiteY1" fmla="*/ 977900 h 1524000"/>
              <a:gd name="connsiteX2" fmla="*/ 520700 w 1016000"/>
              <a:gd name="connsiteY2" fmla="*/ 1524000 h 1524000"/>
              <a:gd name="connsiteX3" fmla="*/ 1016000 w 1016000"/>
              <a:gd name="connsiteY3" fmla="*/ 1498600 h 1524000"/>
              <a:gd name="connsiteX0" fmla="*/ 0 w 1016000"/>
              <a:gd name="connsiteY0" fmla="*/ 0 h 1524000"/>
              <a:gd name="connsiteX1" fmla="*/ 0 w 1016000"/>
              <a:gd name="connsiteY1" fmla="*/ 977900 h 1524000"/>
              <a:gd name="connsiteX2" fmla="*/ 520700 w 1016000"/>
              <a:gd name="connsiteY2" fmla="*/ 1524000 h 1524000"/>
              <a:gd name="connsiteX3" fmla="*/ 1016000 w 1016000"/>
              <a:gd name="connsiteY3" fmla="*/ 1498600 h 1524000"/>
              <a:gd name="connsiteX0" fmla="*/ 0 w 1016000"/>
              <a:gd name="connsiteY0" fmla="*/ 0 h 1498600"/>
              <a:gd name="connsiteX1" fmla="*/ 0 w 1016000"/>
              <a:gd name="connsiteY1" fmla="*/ 977900 h 1498600"/>
              <a:gd name="connsiteX2" fmla="*/ 1016000 w 1016000"/>
              <a:gd name="connsiteY2" fmla="*/ 1498600 h 1498600"/>
              <a:gd name="connsiteX0" fmla="*/ 0 w 1016000"/>
              <a:gd name="connsiteY0" fmla="*/ 0 h 1505604"/>
              <a:gd name="connsiteX1" fmla="*/ 0 w 1016000"/>
              <a:gd name="connsiteY1" fmla="*/ 977900 h 1505604"/>
              <a:gd name="connsiteX2" fmla="*/ 1016000 w 1016000"/>
              <a:gd name="connsiteY2" fmla="*/ 1498600 h 1505604"/>
              <a:gd name="connsiteX0" fmla="*/ 0 w 1016000"/>
              <a:gd name="connsiteY0" fmla="*/ 0 h 1506490"/>
              <a:gd name="connsiteX1" fmla="*/ 0 w 1016000"/>
              <a:gd name="connsiteY1" fmla="*/ 977900 h 1506490"/>
              <a:gd name="connsiteX2" fmla="*/ 1016000 w 1016000"/>
              <a:gd name="connsiteY2" fmla="*/ 1498600 h 1506490"/>
            </a:gdLst>
            <a:ahLst/>
            <a:cxnLst>
              <a:cxn ang="0">
                <a:pos x="connsiteX0" y="connsiteY0"/>
              </a:cxn>
              <a:cxn ang="0">
                <a:pos x="connsiteX1" y="connsiteY1"/>
              </a:cxn>
              <a:cxn ang="0">
                <a:pos x="connsiteX2" y="connsiteY2"/>
              </a:cxn>
            </a:cxnLst>
            <a:rect l="l" t="t" r="r" b="b"/>
            <a:pathLst>
              <a:path w="1016000" h="1506490">
                <a:moveTo>
                  <a:pt x="0" y="0"/>
                </a:moveTo>
                <a:lnTo>
                  <a:pt x="0" y="977900"/>
                </a:lnTo>
                <a:cubicBezTo>
                  <a:pt x="4233" y="1272423"/>
                  <a:pt x="105833" y="1557956"/>
                  <a:pt x="1016000" y="1498600"/>
                </a:cubicBezTo>
              </a:path>
            </a:pathLst>
          </a:custGeom>
          <a:noFill/>
          <a:ln w="1079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 name="Freeform 93"/>
          <p:cNvSpPr/>
          <p:nvPr/>
        </p:nvSpPr>
        <p:spPr bwMode="auto">
          <a:xfrm>
            <a:off x="9712562" y="4614933"/>
            <a:ext cx="954324" cy="2249876"/>
          </a:xfrm>
          <a:custGeom>
            <a:avLst/>
            <a:gdLst>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300242 w 1300242"/>
              <a:gd name="connsiteY0" fmla="*/ 0 h 2705100"/>
              <a:gd name="connsiteX1" fmla="*/ 766842 w 1300242"/>
              <a:gd name="connsiteY1" fmla="*/ 203200 h 2705100"/>
              <a:gd name="connsiteX2" fmla="*/ 462042 w 1300242"/>
              <a:gd name="connsiteY2" fmla="*/ 203200 h 2705100"/>
              <a:gd name="connsiteX3" fmla="*/ 4842 w 1300242"/>
              <a:gd name="connsiteY3" fmla="*/ 787400 h 2705100"/>
              <a:gd name="connsiteX4" fmla="*/ 4842 w 1300242"/>
              <a:gd name="connsiteY4" fmla="*/ 2705100 h 2705100"/>
              <a:gd name="connsiteX0" fmla="*/ 1287542 w 1287542"/>
              <a:gd name="connsiteY0" fmla="*/ 0 h 2705100"/>
              <a:gd name="connsiteX1" fmla="*/ 766842 w 1287542"/>
              <a:gd name="connsiteY1" fmla="*/ 203200 h 2705100"/>
              <a:gd name="connsiteX2" fmla="*/ 462042 w 1287542"/>
              <a:gd name="connsiteY2" fmla="*/ 203200 h 2705100"/>
              <a:gd name="connsiteX3" fmla="*/ 4842 w 1287542"/>
              <a:gd name="connsiteY3" fmla="*/ 787400 h 2705100"/>
              <a:gd name="connsiteX4" fmla="*/ 4842 w 1287542"/>
              <a:gd name="connsiteY4" fmla="*/ 2705100 h 2705100"/>
              <a:gd name="connsiteX0" fmla="*/ 1338342 w 1338342"/>
              <a:gd name="connsiteY0" fmla="*/ 0 h 2716509"/>
              <a:gd name="connsiteX1" fmla="*/ 766842 w 1338342"/>
              <a:gd name="connsiteY1" fmla="*/ 214609 h 2716509"/>
              <a:gd name="connsiteX2" fmla="*/ 462042 w 1338342"/>
              <a:gd name="connsiteY2" fmla="*/ 214609 h 2716509"/>
              <a:gd name="connsiteX3" fmla="*/ 4842 w 1338342"/>
              <a:gd name="connsiteY3" fmla="*/ 798809 h 2716509"/>
              <a:gd name="connsiteX4" fmla="*/ 4842 w 1338342"/>
              <a:gd name="connsiteY4" fmla="*/ 2716509 h 2716509"/>
              <a:gd name="connsiteX0" fmla="*/ 766842 w 766842"/>
              <a:gd name="connsiteY0" fmla="*/ 0 h 2501900"/>
              <a:gd name="connsiteX1" fmla="*/ 462042 w 766842"/>
              <a:gd name="connsiteY1" fmla="*/ 0 h 2501900"/>
              <a:gd name="connsiteX2" fmla="*/ 4842 w 766842"/>
              <a:gd name="connsiteY2" fmla="*/ 584200 h 2501900"/>
              <a:gd name="connsiteX3" fmla="*/ 4842 w 766842"/>
              <a:gd name="connsiteY3" fmla="*/ 2501900 h 2501900"/>
              <a:gd name="connsiteX0" fmla="*/ 1319292 w 1319292"/>
              <a:gd name="connsiteY0" fmla="*/ 0 h 2501900"/>
              <a:gd name="connsiteX1" fmla="*/ 462042 w 1319292"/>
              <a:gd name="connsiteY1" fmla="*/ 0 h 2501900"/>
              <a:gd name="connsiteX2" fmla="*/ 4842 w 1319292"/>
              <a:gd name="connsiteY2" fmla="*/ 584200 h 2501900"/>
              <a:gd name="connsiteX3" fmla="*/ 4842 w 1319292"/>
              <a:gd name="connsiteY3" fmla="*/ 2501900 h 2501900"/>
              <a:gd name="connsiteX0" fmla="*/ 1314583 w 1314583"/>
              <a:gd name="connsiteY0" fmla="*/ 0 h 2501900"/>
              <a:gd name="connsiteX1" fmla="*/ 457333 w 1314583"/>
              <a:gd name="connsiteY1" fmla="*/ 0 h 2501900"/>
              <a:gd name="connsiteX2" fmla="*/ 133 w 1314583"/>
              <a:gd name="connsiteY2" fmla="*/ 584200 h 2501900"/>
              <a:gd name="connsiteX3" fmla="*/ 133 w 1314583"/>
              <a:gd name="connsiteY3" fmla="*/ 2501900 h 2501900"/>
            </a:gdLst>
            <a:ahLst/>
            <a:cxnLst>
              <a:cxn ang="0">
                <a:pos x="connsiteX0" y="connsiteY0"/>
              </a:cxn>
              <a:cxn ang="0">
                <a:pos x="connsiteX1" y="connsiteY1"/>
              </a:cxn>
              <a:cxn ang="0">
                <a:pos x="connsiteX2" y="connsiteY2"/>
              </a:cxn>
              <a:cxn ang="0">
                <a:pos x="connsiteX3" y="connsiteY3"/>
              </a:cxn>
            </a:cxnLst>
            <a:rect l="l" t="t" r="r" b="b"/>
            <a:pathLst>
              <a:path w="1314583" h="2501900">
                <a:moveTo>
                  <a:pt x="1314583" y="0"/>
                </a:moveTo>
                <a:lnTo>
                  <a:pt x="457333" y="0"/>
                </a:lnTo>
                <a:cubicBezTo>
                  <a:pt x="38233" y="42333"/>
                  <a:pt x="-2761" y="405770"/>
                  <a:pt x="133" y="584200"/>
                </a:cubicBezTo>
                <a:lnTo>
                  <a:pt x="133" y="2501900"/>
                </a:lnTo>
              </a:path>
            </a:pathLst>
          </a:custGeom>
          <a:noFill/>
          <a:ln w="1079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2" name="Freeform 94"/>
          <p:cNvSpPr/>
          <p:nvPr/>
        </p:nvSpPr>
        <p:spPr bwMode="auto">
          <a:xfrm>
            <a:off x="9903073" y="5592044"/>
            <a:ext cx="763814" cy="1269652"/>
          </a:xfrm>
          <a:custGeom>
            <a:avLst/>
            <a:gdLst>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1048512 w 1048512"/>
              <a:gd name="connsiteY2" fmla="*/ 0 h 1414272"/>
              <a:gd name="connsiteX0" fmla="*/ 0 w 1048512"/>
              <a:gd name="connsiteY0" fmla="*/ 1446741 h 1446741"/>
              <a:gd name="connsiteX1" fmla="*/ 12192 w 1048512"/>
              <a:gd name="connsiteY1" fmla="*/ 520149 h 1446741"/>
              <a:gd name="connsiteX2" fmla="*/ 1048512 w 1048512"/>
              <a:gd name="connsiteY2" fmla="*/ 32469 h 1446741"/>
              <a:gd name="connsiteX0" fmla="*/ 0 w 1048512"/>
              <a:gd name="connsiteY0" fmla="*/ 1454721 h 1454721"/>
              <a:gd name="connsiteX1" fmla="*/ 12192 w 1048512"/>
              <a:gd name="connsiteY1" fmla="*/ 528129 h 1454721"/>
              <a:gd name="connsiteX2" fmla="*/ 1048512 w 1048512"/>
              <a:gd name="connsiteY2" fmla="*/ 40449 h 1454721"/>
              <a:gd name="connsiteX0" fmla="*/ 0 w 1048512"/>
              <a:gd name="connsiteY0" fmla="*/ 1421418 h 1421418"/>
              <a:gd name="connsiteX1" fmla="*/ 12192 w 1048512"/>
              <a:gd name="connsiteY1" fmla="*/ 494826 h 1421418"/>
              <a:gd name="connsiteX2" fmla="*/ 1048512 w 1048512"/>
              <a:gd name="connsiteY2" fmla="*/ 7146 h 1421418"/>
              <a:gd name="connsiteX0" fmla="*/ 0 w 1048512"/>
              <a:gd name="connsiteY0" fmla="*/ 1421108 h 1421108"/>
              <a:gd name="connsiteX1" fmla="*/ 12192 w 1048512"/>
              <a:gd name="connsiteY1" fmla="*/ 494516 h 1421108"/>
              <a:gd name="connsiteX2" fmla="*/ 1048512 w 1048512"/>
              <a:gd name="connsiteY2" fmla="*/ 6836 h 1421108"/>
              <a:gd name="connsiteX0" fmla="*/ 0 w 1048512"/>
              <a:gd name="connsiteY0" fmla="*/ 1424515 h 1424515"/>
              <a:gd name="connsiteX1" fmla="*/ 12192 w 1048512"/>
              <a:gd name="connsiteY1" fmla="*/ 497923 h 1424515"/>
              <a:gd name="connsiteX2" fmla="*/ 1048512 w 1048512"/>
              <a:gd name="connsiteY2" fmla="*/ 10243 h 1424515"/>
              <a:gd name="connsiteX0" fmla="*/ 0 w 1048512"/>
              <a:gd name="connsiteY0" fmla="*/ 1414727 h 1414727"/>
              <a:gd name="connsiteX1" fmla="*/ 12192 w 1048512"/>
              <a:gd name="connsiteY1" fmla="*/ 488135 h 1414727"/>
              <a:gd name="connsiteX2" fmla="*/ 1048512 w 1048512"/>
              <a:gd name="connsiteY2" fmla="*/ 455 h 1414727"/>
              <a:gd name="connsiteX0" fmla="*/ 0 w 1042162"/>
              <a:gd name="connsiteY0" fmla="*/ 1411875 h 1411875"/>
              <a:gd name="connsiteX1" fmla="*/ 5842 w 1042162"/>
              <a:gd name="connsiteY1" fmla="*/ 488135 h 1411875"/>
              <a:gd name="connsiteX2" fmla="*/ 1042162 w 1042162"/>
              <a:gd name="connsiteY2" fmla="*/ 455 h 1411875"/>
              <a:gd name="connsiteX0" fmla="*/ 0 w 1038987"/>
              <a:gd name="connsiteY0" fmla="*/ 1411875 h 1411875"/>
              <a:gd name="connsiteX1" fmla="*/ 2667 w 1038987"/>
              <a:gd name="connsiteY1" fmla="*/ 488135 h 1411875"/>
              <a:gd name="connsiteX2" fmla="*/ 1038987 w 1038987"/>
              <a:gd name="connsiteY2" fmla="*/ 455 h 1411875"/>
            </a:gdLst>
            <a:ahLst/>
            <a:cxnLst>
              <a:cxn ang="0">
                <a:pos x="connsiteX0" y="connsiteY0"/>
              </a:cxn>
              <a:cxn ang="0">
                <a:pos x="connsiteX1" y="connsiteY1"/>
              </a:cxn>
              <a:cxn ang="0">
                <a:pos x="connsiteX2" y="connsiteY2"/>
              </a:cxn>
            </a:cxnLst>
            <a:rect l="l" t="t" r="r" b="b"/>
            <a:pathLst>
              <a:path w="1038987" h="1411875">
                <a:moveTo>
                  <a:pt x="0" y="1411875"/>
                </a:moveTo>
                <a:cubicBezTo>
                  <a:pt x="1947" y="1103962"/>
                  <a:pt x="720" y="796048"/>
                  <a:pt x="2667" y="488135"/>
                </a:cubicBezTo>
                <a:cubicBezTo>
                  <a:pt x="-381" y="58472"/>
                  <a:pt x="191262" y="-6329"/>
                  <a:pt x="1038987" y="455"/>
                </a:cubicBezTo>
              </a:path>
            </a:pathLst>
          </a:custGeom>
          <a:noFill/>
          <a:ln w="1079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3" name="Freeform 95"/>
          <p:cNvSpPr/>
          <p:nvPr/>
        </p:nvSpPr>
        <p:spPr bwMode="auto">
          <a:xfrm>
            <a:off x="7098131" y="3240200"/>
            <a:ext cx="1820977" cy="3624613"/>
          </a:xfrm>
          <a:custGeom>
            <a:avLst/>
            <a:gdLst>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72384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72384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9167" h="4030631">
                <a:moveTo>
                  <a:pt x="2479167" y="4030631"/>
                </a:moveTo>
                <a:lnTo>
                  <a:pt x="2479167" y="3055271"/>
                </a:lnTo>
                <a:cubicBezTo>
                  <a:pt x="2478432" y="2904400"/>
                  <a:pt x="2328799" y="2681383"/>
                  <a:pt x="1979295" y="2677319"/>
                </a:cubicBezTo>
                <a:lnTo>
                  <a:pt x="1576959" y="2677319"/>
                </a:lnTo>
                <a:cubicBezTo>
                  <a:pt x="1349375" y="2671689"/>
                  <a:pt x="1093710" y="2571656"/>
                  <a:pt x="1077087" y="2226215"/>
                </a:cubicBezTo>
                <a:lnTo>
                  <a:pt x="1101471" y="409607"/>
                </a:lnTo>
                <a:cubicBezTo>
                  <a:pt x="1068959" y="238919"/>
                  <a:pt x="987679" y="68231"/>
                  <a:pt x="674751" y="7271"/>
                </a:cubicBezTo>
                <a:lnTo>
                  <a:pt x="0" y="0"/>
                </a:lnTo>
              </a:path>
            </a:pathLst>
          </a:custGeom>
          <a:noFill/>
          <a:ln w="1079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4" name="Freeform 96"/>
          <p:cNvSpPr/>
          <p:nvPr/>
        </p:nvSpPr>
        <p:spPr bwMode="auto">
          <a:xfrm>
            <a:off x="9295429" y="4968058"/>
            <a:ext cx="1371458" cy="1896749"/>
          </a:xfrm>
          <a:custGeom>
            <a:avLst/>
            <a:gdLst>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730 w 1865914"/>
              <a:gd name="connsiteY0" fmla="*/ 2109216 h 2109216"/>
              <a:gd name="connsiteX1" fmla="*/ 538 w 1865914"/>
              <a:gd name="connsiteY1" fmla="*/ 585216 h 2109216"/>
              <a:gd name="connsiteX2" fmla="*/ 427258 w 1865914"/>
              <a:gd name="connsiteY2" fmla="*/ 0 h 2109216"/>
              <a:gd name="connsiteX3" fmla="*/ 1865914 w 1865914"/>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24428 h 2124428"/>
              <a:gd name="connsiteX1" fmla="*/ 0 w 1865376"/>
              <a:gd name="connsiteY1" fmla="*/ 600428 h 2124428"/>
              <a:gd name="connsiteX2" fmla="*/ 426720 w 1865376"/>
              <a:gd name="connsiteY2" fmla="*/ 15212 h 2124428"/>
              <a:gd name="connsiteX3" fmla="*/ 1865376 w 1865376"/>
              <a:gd name="connsiteY3" fmla="*/ 15212 h 2124428"/>
              <a:gd name="connsiteX0" fmla="*/ 12192 w 1865376"/>
              <a:gd name="connsiteY0" fmla="*/ 2116668 h 2116668"/>
              <a:gd name="connsiteX1" fmla="*/ 0 w 1865376"/>
              <a:gd name="connsiteY1" fmla="*/ 592668 h 2116668"/>
              <a:gd name="connsiteX2" fmla="*/ 731520 w 1865376"/>
              <a:gd name="connsiteY2" fmla="*/ 18860 h 2116668"/>
              <a:gd name="connsiteX3" fmla="*/ 1865376 w 1865376"/>
              <a:gd name="connsiteY3" fmla="*/ 7452 h 2116668"/>
              <a:gd name="connsiteX0" fmla="*/ 12192 w 1865376"/>
              <a:gd name="connsiteY0" fmla="*/ 2116668 h 2116668"/>
              <a:gd name="connsiteX1" fmla="*/ 0 w 1865376"/>
              <a:gd name="connsiteY1" fmla="*/ 592668 h 2116668"/>
              <a:gd name="connsiteX2" fmla="*/ 731520 w 1865376"/>
              <a:gd name="connsiteY2" fmla="*/ 18860 h 2116668"/>
              <a:gd name="connsiteX3" fmla="*/ 1865376 w 1865376"/>
              <a:gd name="connsiteY3" fmla="*/ 7452 h 2116668"/>
              <a:gd name="connsiteX0" fmla="*/ 12192 w 1865376"/>
              <a:gd name="connsiteY0" fmla="*/ 2109217 h 2109217"/>
              <a:gd name="connsiteX1" fmla="*/ 0 w 1865376"/>
              <a:gd name="connsiteY1" fmla="*/ 585217 h 2109217"/>
              <a:gd name="connsiteX2" fmla="*/ 731520 w 1865376"/>
              <a:gd name="connsiteY2" fmla="*/ 11409 h 2109217"/>
              <a:gd name="connsiteX3" fmla="*/ 1865376 w 1865376"/>
              <a:gd name="connsiteY3" fmla="*/ 1 h 2109217"/>
              <a:gd name="connsiteX0" fmla="*/ 12192 w 1865376"/>
              <a:gd name="connsiteY0" fmla="*/ 2212929 h 2212929"/>
              <a:gd name="connsiteX1" fmla="*/ 0 w 1865376"/>
              <a:gd name="connsiteY1" fmla="*/ 688929 h 2212929"/>
              <a:gd name="connsiteX2" fmla="*/ 744220 w 1865376"/>
              <a:gd name="connsiteY2" fmla="*/ 1032 h 2212929"/>
              <a:gd name="connsiteX3" fmla="*/ 1865376 w 1865376"/>
              <a:gd name="connsiteY3" fmla="*/ 103713 h 221292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109216 h 2109216"/>
              <a:gd name="connsiteX1" fmla="*/ 0 w 1865376"/>
              <a:gd name="connsiteY1" fmla="*/ 585216 h 2109216"/>
              <a:gd name="connsiteX2" fmla="*/ 579120 w 1865376"/>
              <a:gd name="connsiteY2" fmla="*/ 45635 h 2109216"/>
              <a:gd name="connsiteX3" fmla="*/ 1865376 w 1865376"/>
              <a:gd name="connsiteY3" fmla="*/ 0 h 2109216"/>
              <a:gd name="connsiteX0" fmla="*/ 12192 w 1865376"/>
              <a:gd name="connsiteY0" fmla="*/ 2109216 h 2109216"/>
              <a:gd name="connsiteX1" fmla="*/ 0 w 1865376"/>
              <a:gd name="connsiteY1" fmla="*/ 585216 h 2109216"/>
              <a:gd name="connsiteX2" fmla="*/ 579120 w 1865376"/>
              <a:gd name="connsiteY2" fmla="*/ 45635 h 2109216"/>
              <a:gd name="connsiteX3" fmla="*/ 1865376 w 1865376"/>
              <a:gd name="connsiteY3" fmla="*/ 0 h 2109216"/>
              <a:gd name="connsiteX0" fmla="*/ 12317 w 1865501"/>
              <a:gd name="connsiteY0" fmla="*/ 2109216 h 2109216"/>
              <a:gd name="connsiteX1" fmla="*/ 125 w 1865501"/>
              <a:gd name="connsiteY1" fmla="*/ 585216 h 2109216"/>
              <a:gd name="connsiteX2" fmla="*/ 579245 w 1865501"/>
              <a:gd name="connsiteY2" fmla="*/ 45635 h 2109216"/>
              <a:gd name="connsiteX3" fmla="*/ 1865501 w 1865501"/>
              <a:gd name="connsiteY3" fmla="*/ 0 h 2109216"/>
              <a:gd name="connsiteX0" fmla="*/ 12358 w 1865542"/>
              <a:gd name="connsiteY0" fmla="*/ 2109216 h 2109216"/>
              <a:gd name="connsiteX1" fmla="*/ 166 w 1865542"/>
              <a:gd name="connsiteY1" fmla="*/ 585216 h 2109216"/>
              <a:gd name="connsiteX2" fmla="*/ 503086 w 1865542"/>
              <a:gd name="connsiteY2" fmla="*/ 34226 h 2109216"/>
              <a:gd name="connsiteX3" fmla="*/ 1865542 w 1865542"/>
              <a:gd name="connsiteY3" fmla="*/ 0 h 2109216"/>
            </a:gdLst>
            <a:ahLst/>
            <a:cxnLst>
              <a:cxn ang="0">
                <a:pos x="connsiteX0" y="connsiteY0"/>
              </a:cxn>
              <a:cxn ang="0">
                <a:pos x="connsiteX1" y="connsiteY1"/>
              </a:cxn>
              <a:cxn ang="0">
                <a:pos x="connsiteX2" y="connsiteY2"/>
              </a:cxn>
              <a:cxn ang="0">
                <a:pos x="connsiteX3" y="connsiteY3"/>
              </a:cxn>
            </a:cxnLst>
            <a:rect l="l" t="t" r="r" b="b"/>
            <a:pathLst>
              <a:path w="1865542" h="2109216">
                <a:moveTo>
                  <a:pt x="12358" y="2109216"/>
                </a:moveTo>
                <a:lnTo>
                  <a:pt x="166" y="585216"/>
                </a:lnTo>
                <a:cubicBezTo>
                  <a:pt x="-6946" y="267906"/>
                  <a:pt x="214034" y="45635"/>
                  <a:pt x="503086" y="34226"/>
                </a:cubicBezTo>
                <a:cubicBezTo>
                  <a:pt x="893738" y="22817"/>
                  <a:pt x="1385990" y="0"/>
                  <a:pt x="1865542" y="0"/>
                </a:cubicBezTo>
              </a:path>
            </a:pathLst>
          </a:custGeom>
          <a:noFill/>
          <a:ln w="107950">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 name="Freeform 116"/>
          <p:cNvSpPr/>
          <p:nvPr/>
        </p:nvSpPr>
        <p:spPr bwMode="auto">
          <a:xfrm flipH="1">
            <a:off x="8889805" y="530427"/>
            <a:ext cx="1779044" cy="2500615"/>
          </a:xfrm>
          <a:custGeom>
            <a:avLst/>
            <a:gdLst>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57487"/>
              <a:gd name="connsiteX1" fmla="*/ 885372 w 885372"/>
              <a:gd name="connsiteY1" fmla="*/ 3947886 h 4357487"/>
              <a:gd name="connsiteX2" fmla="*/ 493486 w 885372"/>
              <a:gd name="connsiteY2" fmla="*/ 4339772 h 4357487"/>
              <a:gd name="connsiteX3" fmla="*/ 0 w 885372"/>
              <a:gd name="connsiteY3" fmla="*/ 4339772 h 4357487"/>
              <a:gd name="connsiteX0" fmla="*/ 885372 w 932374"/>
              <a:gd name="connsiteY0" fmla="*/ 0 h 4358057"/>
              <a:gd name="connsiteX1" fmla="*/ 885372 w 932374"/>
              <a:gd name="connsiteY1" fmla="*/ 3947886 h 4358057"/>
              <a:gd name="connsiteX2" fmla="*/ 493486 w 932374"/>
              <a:gd name="connsiteY2" fmla="*/ 4339772 h 4358057"/>
              <a:gd name="connsiteX3" fmla="*/ 0 w 932374"/>
              <a:gd name="connsiteY3" fmla="*/ 4339772 h 4358057"/>
              <a:gd name="connsiteX0" fmla="*/ 885372 w 892667"/>
              <a:gd name="connsiteY0" fmla="*/ 0 h 4359989"/>
              <a:gd name="connsiteX1" fmla="*/ 885372 w 892667"/>
              <a:gd name="connsiteY1" fmla="*/ 3947886 h 4359989"/>
              <a:gd name="connsiteX2" fmla="*/ 493486 w 892667"/>
              <a:gd name="connsiteY2" fmla="*/ 4339772 h 4359989"/>
              <a:gd name="connsiteX3" fmla="*/ 0 w 892667"/>
              <a:gd name="connsiteY3" fmla="*/ 4339772 h 4359989"/>
              <a:gd name="connsiteX0" fmla="*/ 885372 w 894773"/>
              <a:gd name="connsiteY0" fmla="*/ 0 h 4339772"/>
              <a:gd name="connsiteX1" fmla="*/ 885372 w 894773"/>
              <a:gd name="connsiteY1" fmla="*/ 3947886 h 4339772"/>
              <a:gd name="connsiteX2" fmla="*/ 493486 w 894773"/>
              <a:gd name="connsiteY2" fmla="*/ 4339772 h 4339772"/>
              <a:gd name="connsiteX3" fmla="*/ 0 w 894773"/>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8933"/>
              <a:gd name="connsiteY0" fmla="*/ 0 h 4339772"/>
              <a:gd name="connsiteX1" fmla="*/ 888933 w 888933"/>
              <a:gd name="connsiteY1" fmla="*/ 3731415 h 4339772"/>
              <a:gd name="connsiteX2" fmla="*/ 493486 w 888933"/>
              <a:gd name="connsiteY2" fmla="*/ 4339772 h 4339772"/>
              <a:gd name="connsiteX3" fmla="*/ 0 w 888933"/>
              <a:gd name="connsiteY3" fmla="*/ 4339772 h 4339772"/>
              <a:gd name="connsiteX0" fmla="*/ 885372 w 888933"/>
              <a:gd name="connsiteY0" fmla="*/ 0 h 4339772"/>
              <a:gd name="connsiteX1" fmla="*/ 888933 w 888933"/>
              <a:gd name="connsiteY1" fmla="*/ 3731415 h 4339772"/>
              <a:gd name="connsiteX2" fmla="*/ 493486 w 888933"/>
              <a:gd name="connsiteY2" fmla="*/ 4339772 h 4339772"/>
              <a:gd name="connsiteX3" fmla="*/ 0 w 888933"/>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932040"/>
              <a:gd name="connsiteY0" fmla="*/ 0 h 4339772"/>
              <a:gd name="connsiteX1" fmla="*/ 885372 w 932040"/>
              <a:gd name="connsiteY1" fmla="*/ 3744944 h 4339772"/>
              <a:gd name="connsiteX2" fmla="*/ 686389 w 932040"/>
              <a:gd name="connsiteY2" fmla="*/ 4339772 h 4339772"/>
              <a:gd name="connsiteX3" fmla="*/ 0 w 932040"/>
              <a:gd name="connsiteY3" fmla="*/ 4339772 h 4339772"/>
              <a:gd name="connsiteX0" fmla="*/ 885372 w 885372"/>
              <a:gd name="connsiteY0" fmla="*/ 0 h 4339772"/>
              <a:gd name="connsiteX1" fmla="*/ 885372 w 885372"/>
              <a:gd name="connsiteY1" fmla="*/ 3744944 h 4339772"/>
              <a:gd name="connsiteX2" fmla="*/ 686389 w 885372"/>
              <a:gd name="connsiteY2" fmla="*/ 4339772 h 4339772"/>
              <a:gd name="connsiteX3" fmla="*/ 0 w 885372"/>
              <a:gd name="connsiteY3" fmla="*/ 4339772 h 4339772"/>
              <a:gd name="connsiteX0" fmla="*/ 885372 w 885705"/>
              <a:gd name="connsiteY0" fmla="*/ 0 h 4339772"/>
              <a:gd name="connsiteX1" fmla="*/ 885372 w 885705"/>
              <a:gd name="connsiteY1" fmla="*/ 3744944 h 4339772"/>
              <a:gd name="connsiteX2" fmla="*/ 686389 w 885705"/>
              <a:gd name="connsiteY2" fmla="*/ 4339772 h 4339772"/>
              <a:gd name="connsiteX3" fmla="*/ 0 w 885705"/>
              <a:gd name="connsiteY3" fmla="*/ 4339772 h 4339772"/>
              <a:gd name="connsiteX0" fmla="*/ 885372 w 885592"/>
              <a:gd name="connsiteY0" fmla="*/ 0 h 4339772"/>
              <a:gd name="connsiteX1" fmla="*/ 885372 w 885592"/>
              <a:gd name="connsiteY1" fmla="*/ 3744944 h 4339772"/>
              <a:gd name="connsiteX2" fmla="*/ 686389 w 885592"/>
              <a:gd name="connsiteY2" fmla="*/ 4339772 h 4339772"/>
              <a:gd name="connsiteX3" fmla="*/ 0 w 885592"/>
              <a:gd name="connsiteY3" fmla="*/ 4339772 h 4339772"/>
              <a:gd name="connsiteX0" fmla="*/ 885372 w 885722"/>
              <a:gd name="connsiteY0" fmla="*/ 0 h 4339772"/>
              <a:gd name="connsiteX1" fmla="*/ 885372 w 885722"/>
              <a:gd name="connsiteY1" fmla="*/ 3744944 h 4339772"/>
              <a:gd name="connsiteX2" fmla="*/ 686389 w 885722"/>
              <a:gd name="connsiteY2" fmla="*/ 4339772 h 4339772"/>
              <a:gd name="connsiteX3" fmla="*/ 0 w 885722"/>
              <a:gd name="connsiteY3" fmla="*/ 4339772 h 4339772"/>
            </a:gdLst>
            <a:ahLst/>
            <a:cxnLst>
              <a:cxn ang="0">
                <a:pos x="connsiteX0" y="connsiteY0"/>
              </a:cxn>
              <a:cxn ang="0">
                <a:pos x="connsiteX1" y="connsiteY1"/>
              </a:cxn>
              <a:cxn ang="0">
                <a:pos x="connsiteX2" y="connsiteY2"/>
              </a:cxn>
              <a:cxn ang="0">
                <a:pos x="connsiteX3" y="connsiteY3"/>
              </a:cxn>
            </a:cxnLst>
            <a:rect l="l" t="t" r="r" b="b"/>
            <a:pathLst>
              <a:path w="885722" h="4339772">
                <a:moveTo>
                  <a:pt x="885372" y="0"/>
                </a:moveTo>
                <a:lnTo>
                  <a:pt x="885372" y="3744944"/>
                </a:lnTo>
                <a:cubicBezTo>
                  <a:pt x="889725" y="4273184"/>
                  <a:pt x="855275" y="4336597"/>
                  <a:pt x="686389" y="4339772"/>
                </a:cubicBezTo>
                <a:lnTo>
                  <a:pt x="0" y="4339772"/>
                </a:lnTo>
              </a:path>
            </a:pathLst>
          </a:custGeom>
          <a:noFill/>
          <a:ln w="1079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a:ea typeface="+mn-ea"/>
              <a:cs typeface="+mn-cs"/>
            </a:endParaRPr>
          </a:p>
        </p:txBody>
      </p:sp>
      <p:sp>
        <p:nvSpPr>
          <p:cNvPr id="16" name="Rectangle 78"/>
          <p:cNvSpPr/>
          <p:nvPr/>
        </p:nvSpPr>
        <p:spPr bwMode="auto">
          <a:xfrm>
            <a:off x="8666296" y="6351829"/>
            <a:ext cx="1501541" cy="513731"/>
          </a:xfrm>
          <a:custGeom>
            <a:avLst/>
            <a:gdLst>
              <a:gd name="connsiteX0" fmla="*/ 0 w 2544741"/>
              <a:gd name="connsiteY0" fmla="*/ 0 h 855488"/>
              <a:gd name="connsiteX1" fmla="*/ 2544741 w 2544741"/>
              <a:gd name="connsiteY1" fmla="*/ 0 h 855488"/>
              <a:gd name="connsiteX2" fmla="*/ 2544741 w 2544741"/>
              <a:gd name="connsiteY2" fmla="*/ 855488 h 855488"/>
              <a:gd name="connsiteX3" fmla="*/ 0 w 2544741"/>
              <a:gd name="connsiteY3" fmla="*/ 855488 h 855488"/>
              <a:gd name="connsiteX4" fmla="*/ 0 w 2544741"/>
              <a:gd name="connsiteY4" fmla="*/ 0 h 855488"/>
              <a:gd name="connsiteX0" fmla="*/ 2544741 w 2636181"/>
              <a:gd name="connsiteY0" fmla="*/ 855488 h 946928"/>
              <a:gd name="connsiteX1" fmla="*/ 0 w 2636181"/>
              <a:gd name="connsiteY1" fmla="*/ 855488 h 946928"/>
              <a:gd name="connsiteX2" fmla="*/ 0 w 2636181"/>
              <a:gd name="connsiteY2" fmla="*/ 0 h 946928"/>
              <a:gd name="connsiteX3" fmla="*/ 2544741 w 2636181"/>
              <a:gd name="connsiteY3" fmla="*/ 0 h 946928"/>
              <a:gd name="connsiteX4" fmla="*/ 2636181 w 2636181"/>
              <a:gd name="connsiteY4" fmla="*/ 946928 h 946928"/>
              <a:gd name="connsiteX0" fmla="*/ 0 w 2636181"/>
              <a:gd name="connsiteY0" fmla="*/ 855488 h 946928"/>
              <a:gd name="connsiteX1" fmla="*/ 0 w 2636181"/>
              <a:gd name="connsiteY1" fmla="*/ 0 h 946928"/>
              <a:gd name="connsiteX2" fmla="*/ 2544741 w 2636181"/>
              <a:gd name="connsiteY2" fmla="*/ 0 h 946928"/>
              <a:gd name="connsiteX3" fmla="*/ 2636181 w 2636181"/>
              <a:gd name="connsiteY3" fmla="*/ 946928 h 946928"/>
              <a:gd name="connsiteX0" fmla="*/ 0 w 2549095"/>
              <a:gd name="connsiteY0" fmla="*/ 855488 h 946928"/>
              <a:gd name="connsiteX1" fmla="*/ 0 w 2549095"/>
              <a:gd name="connsiteY1" fmla="*/ 0 h 946928"/>
              <a:gd name="connsiteX2" fmla="*/ 2544741 w 2549095"/>
              <a:gd name="connsiteY2" fmla="*/ 0 h 946928"/>
              <a:gd name="connsiteX3" fmla="*/ 2549095 w 2549095"/>
              <a:gd name="connsiteY3" fmla="*/ 946928 h 946928"/>
              <a:gd name="connsiteX0" fmla="*/ 0 w 2556715"/>
              <a:gd name="connsiteY0" fmla="*/ 855488 h 855488"/>
              <a:gd name="connsiteX1" fmla="*/ 0 w 2556715"/>
              <a:gd name="connsiteY1" fmla="*/ 0 h 855488"/>
              <a:gd name="connsiteX2" fmla="*/ 2544741 w 2556715"/>
              <a:gd name="connsiteY2" fmla="*/ 0 h 855488"/>
              <a:gd name="connsiteX3" fmla="*/ 2556715 w 255671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Lst>
            <a:ahLst/>
            <a:cxnLst>
              <a:cxn ang="0">
                <a:pos x="connsiteX0" y="connsiteY0"/>
              </a:cxn>
              <a:cxn ang="0">
                <a:pos x="connsiteX1" y="connsiteY1"/>
              </a:cxn>
              <a:cxn ang="0">
                <a:pos x="connsiteX2" y="connsiteY2"/>
              </a:cxn>
              <a:cxn ang="0">
                <a:pos x="connsiteX3" y="connsiteY3"/>
              </a:cxn>
            </a:cxnLst>
            <a:rect l="l" t="t" r="r" b="b"/>
            <a:pathLst>
              <a:path w="2549095" h="866096">
                <a:moveTo>
                  <a:pt x="0" y="855488"/>
                </a:moveTo>
                <a:lnTo>
                  <a:pt x="0" y="0"/>
                </a:lnTo>
                <a:lnTo>
                  <a:pt x="2544741" y="0"/>
                </a:lnTo>
                <a:cubicBezTo>
                  <a:pt x="2544741" y="285163"/>
                  <a:pt x="2549095" y="866096"/>
                  <a:pt x="2549095" y="866096"/>
                </a:cubicBezTo>
              </a:path>
            </a:pathLst>
          </a:custGeom>
          <a:noFill/>
          <a:ln w="762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114"/>
          <p:cNvSpPr/>
          <p:nvPr/>
        </p:nvSpPr>
        <p:spPr bwMode="auto">
          <a:xfrm>
            <a:off x="7585329" y="740612"/>
            <a:ext cx="445444" cy="3485764"/>
          </a:xfrm>
          <a:custGeom>
            <a:avLst/>
            <a:gdLst>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57487"/>
              <a:gd name="connsiteX1" fmla="*/ 885372 w 885372"/>
              <a:gd name="connsiteY1" fmla="*/ 3947886 h 4357487"/>
              <a:gd name="connsiteX2" fmla="*/ 493486 w 885372"/>
              <a:gd name="connsiteY2" fmla="*/ 4339772 h 4357487"/>
              <a:gd name="connsiteX3" fmla="*/ 0 w 885372"/>
              <a:gd name="connsiteY3" fmla="*/ 4339772 h 4357487"/>
              <a:gd name="connsiteX0" fmla="*/ 885372 w 932374"/>
              <a:gd name="connsiteY0" fmla="*/ 0 h 4358057"/>
              <a:gd name="connsiteX1" fmla="*/ 885372 w 932374"/>
              <a:gd name="connsiteY1" fmla="*/ 3947886 h 4358057"/>
              <a:gd name="connsiteX2" fmla="*/ 493486 w 932374"/>
              <a:gd name="connsiteY2" fmla="*/ 4339772 h 4358057"/>
              <a:gd name="connsiteX3" fmla="*/ 0 w 932374"/>
              <a:gd name="connsiteY3" fmla="*/ 4339772 h 4358057"/>
              <a:gd name="connsiteX0" fmla="*/ 885372 w 892667"/>
              <a:gd name="connsiteY0" fmla="*/ 0 h 4359989"/>
              <a:gd name="connsiteX1" fmla="*/ 885372 w 892667"/>
              <a:gd name="connsiteY1" fmla="*/ 3947886 h 4359989"/>
              <a:gd name="connsiteX2" fmla="*/ 493486 w 892667"/>
              <a:gd name="connsiteY2" fmla="*/ 4339772 h 4359989"/>
              <a:gd name="connsiteX3" fmla="*/ 0 w 892667"/>
              <a:gd name="connsiteY3" fmla="*/ 4339772 h 4359989"/>
              <a:gd name="connsiteX0" fmla="*/ 885372 w 894773"/>
              <a:gd name="connsiteY0" fmla="*/ 0 h 4339772"/>
              <a:gd name="connsiteX1" fmla="*/ 885372 w 894773"/>
              <a:gd name="connsiteY1" fmla="*/ 3947886 h 4339772"/>
              <a:gd name="connsiteX2" fmla="*/ 493486 w 894773"/>
              <a:gd name="connsiteY2" fmla="*/ 4339772 h 4339772"/>
              <a:gd name="connsiteX3" fmla="*/ 0 w 894773"/>
              <a:gd name="connsiteY3" fmla="*/ 4339772 h 4339772"/>
              <a:gd name="connsiteX0" fmla="*/ 885372 w 886846"/>
              <a:gd name="connsiteY0" fmla="*/ 0 h 4339772"/>
              <a:gd name="connsiteX1" fmla="*/ 885372 w 886846"/>
              <a:gd name="connsiteY1" fmla="*/ 3947886 h 4339772"/>
              <a:gd name="connsiteX2" fmla="*/ 493486 w 886846"/>
              <a:gd name="connsiteY2" fmla="*/ 4339772 h 4339772"/>
              <a:gd name="connsiteX3" fmla="*/ 0 w 886846"/>
              <a:gd name="connsiteY3" fmla="*/ 4339772 h 4339772"/>
            </a:gdLst>
            <a:ahLst/>
            <a:cxnLst>
              <a:cxn ang="0">
                <a:pos x="connsiteX0" y="connsiteY0"/>
              </a:cxn>
              <a:cxn ang="0">
                <a:pos x="connsiteX1" y="connsiteY1"/>
              </a:cxn>
              <a:cxn ang="0">
                <a:pos x="connsiteX2" y="connsiteY2"/>
              </a:cxn>
              <a:cxn ang="0">
                <a:pos x="connsiteX3" y="connsiteY3"/>
              </a:cxn>
            </a:cxnLst>
            <a:rect l="l" t="t" r="r" b="b"/>
            <a:pathLst>
              <a:path w="886846" h="4339772">
                <a:moveTo>
                  <a:pt x="885372" y="0"/>
                </a:moveTo>
                <a:lnTo>
                  <a:pt x="885372" y="3947886"/>
                </a:lnTo>
                <a:cubicBezTo>
                  <a:pt x="891165" y="4155623"/>
                  <a:pt x="899433" y="4336596"/>
                  <a:pt x="493486" y="4339772"/>
                </a:cubicBezTo>
                <a:lnTo>
                  <a:pt x="0" y="4339772"/>
                </a:lnTo>
              </a:path>
            </a:pathLst>
          </a:custGeom>
          <a:noFill/>
          <a:ln w="1079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18" name="Group 5"/>
          <p:cNvGrpSpPr/>
          <p:nvPr/>
        </p:nvGrpSpPr>
        <p:grpSpPr>
          <a:xfrm flipV="1">
            <a:off x="6636013" y="4226376"/>
            <a:ext cx="885728" cy="45719"/>
            <a:chOff x="6952690" y="4310628"/>
            <a:chExt cx="1204651" cy="0"/>
          </a:xfrm>
        </p:grpSpPr>
        <p:cxnSp>
          <p:nvCxnSpPr>
            <p:cNvPr id="19" name="Straight Connector 115"/>
            <p:cNvCxnSpPr/>
            <p:nvPr/>
          </p:nvCxnSpPr>
          <p:spPr>
            <a:xfrm>
              <a:off x="7756878" y="4310628"/>
              <a:ext cx="400463" cy="0"/>
            </a:xfrm>
            <a:prstGeom prst="line">
              <a:avLst/>
            </a:prstGeom>
            <a:noFill/>
            <a:ln w="107950">
              <a:solidFill>
                <a:schemeClr val="accent3"/>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22"/>
            <p:cNvCxnSpPr/>
            <p:nvPr/>
          </p:nvCxnSpPr>
          <p:spPr>
            <a:xfrm>
              <a:off x="6952690" y="4310628"/>
              <a:ext cx="400463" cy="0"/>
            </a:xfrm>
            <a:prstGeom prst="line">
              <a:avLst/>
            </a:prstGeom>
            <a:noFill/>
            <a:ln w="107950">
              <a:solidFill>
                <a:schemeClr val="accent2"/>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1" name="Group 7"/>
          <p:cNvGrpSpPr/>
          <p:nvPr/>
        </p:nvGrpSpPr>
        <p:grpSpPr>
          <a:xfrm>
            <a:off x="6971455" y="971550"/>
            <a:ext cx="3695480" cy="4281216"/>
            <a:chOff x="7408915" y="58809"/>
            <a:chExt cx="5026110" cy="5298789"/>
          </a:xfrm>
        </p:grpSpPr>
        <p:sp>
          <p:nvSpPr>
            <p:cNvPr id="22" name="Right Arrow 120"/>
            <p:cNvSpPr/>
            <p:nvPr/>
          </p:nvSpPr>
          <p:spPr bwMode="auto">
            <a:xfrm>
              <a:off x="7857891" y="1287577"/>
              <a:ext cx="391594" cy="396584"/>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ight Arrow 121"/>
            <p:cNvSpPr/>
            <p:nvPr/>
          </p:nvSpPr>
          <p:spPr bwMode="auto">
            <a:xfrm flipH="1">
              <a:off x="9611828" y="2696253"/>
              <a:ext cx="391594" cy="253272"/>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ight Arrow 133"/>
            <p:cNvSpPr/>
            <p:nvPr/>
          </p:nvSpPr>
          <p:spPr bwMode="auto">
            <a:xfrm flipH="1">
              <a:off x="12043431" y="456700"/>
              <a:ext cx="391594" cy="396584"/>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Freeform 61"/>
            <p:cNvSpPr>
              <a:spLocks noEditPoints="1"/>
            </p:cNvSpPr>
            <p:nvPr/>
          </p:nvSpPr>
          <p:spPr bwMode="black">
            <a:xfrm>
              <a:off x="9761646" y="4685603"/>
              <a:ext cx="536335" cy="671995"/>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85"/>
            <p:cNvSpPr>
              <a:spLocks noEditPoints="1"/>
            </p:cNvSpPr>
            <p:nvPr/>
          </p:nvSpPr>
          <p:spPr bwMode="black">
            <a:xfrm>
              <a:off x="8923644" y="2206369"/>
              <a:ext cx="697647" cy="1137971"/>
            </a:xfrm>
            <a:custGeom>
              <a:avLst/>
              <a:gdLst>
                <a:gd name="T0" fmla="*/ 1222 w 1490"/>
                <a:gd name="T1" fmla="*/ 199 h 2432"/>
                <a:gd name="T2" fmla="*/ 1082 w 1490"/>
                <a:gd name="T3" fmla="*/ 239 h 2432"/>
                <a:gd name="T4" fmla="*/ 705 w 1490"/>
                <a:gd name="T5" fmla="*/ 0 h 2432"/>
                <a:gd name="T6" fmla="*/ 298 w 1490"/>
                <a:gd name="T7" fmla="*/ 326 h 2432"/>
                <a:gd name="T8" fmla="*/ 214 w 1490"/>
                <a:gd name="T9" fmla="*/ 309 h 2432"/>
                <a:gd name="T10" fmla="*/ 0 w 1490"/>
                <a:gd name="T11" fmla="*/ 522 h 2432"/>
                <a:gd name="T12" fmla="*/ 214 w 1490"/>
                <a:gd name="T13" fmla="*/ 736 h 2432"/>
                <a:gd name="T14" fmla="*/ 1222 w 1490"/>
                <a:gd name="T15" fmla="*/ 736 h 2432"/>
                <a:gd name="T16" fmla="*/ 1490 w 1490"/>
                <a:gd name="T17" fmla="*/ 467 h 2432"/>
                <a:gd name="T18" fmla="*/ 1222 w 1490"/>
                <a:gd name="T19" fmla="*/ 199 h 2432"/>
                <a:gd name="T20" fmla="*/ 318 w 1490"/>
                <a:gd name="T21" fmla="*/ 2032 h 2432"/>
                <a:gd name="T22" fmla="*/ 318 w 1490"/>
                <a:gd name="T23" fmla="*/ 2398 h 2432"/>
                <a:gd name="T24" fmla="*/ 351 w 1490"/>
                <a:gd name="T25" fmla="*/ 2432 h 2432"/>
                <a:gd name="T26" fmla="*/ 605 w 1490"/>
                <a:gd name="T27" fmla="*/ 2432 h 2432"/>
                <a:gd name="T28" fmla="*/ 605 w 1490"/>
                <a:gd name="T29" fmla="*/ 2091 h 2432"/>
                <a:gd name="T30" fmla="*/ 639 w 1490"/>
                <a:gd name="T31" fmla="*/ 2058 h 2432"/>
                <a:gd name="T32" fmla="*/ 852 w 1490"/>
                <a:gd name="T33" fmla="*/ 2058 h 2432"/>
                <a:gd name="T34" fmla="*/ 886 w 1490"/>
                <a:gd name="T35" fmla="*/ 2091 h 2432"/>
                <a:gd name="T36" fmla="*/ 886 w 1490"/>
                <a:gd name="T37" fmla="*/ 2432 h 2432"/>
                <a:gd name="T38" fmla="*/ 1140 w 1490"/>
                <a:gd name="T39" fmla="*/ 2432 h 2432"/>
                <a:gd name="T40" fmla="*/ 1173 w 1490"/>
                <a:gd name="T41" fmla="*/ 2398 h 2432"/>
                <a:gd name="T42" fmla="*/ 1173 w 1490"/>
                <a:gd name="T43" fmla="*/ 2032 h 2432"/>
                <a:gd name="T44" fmla="*/ 745 w 1490"/>
                <a:gd name="T45" fmla="*/ 1657 h 2432"/>
                <a:gd name="T46" fmla="*/ 318 w 1490"/>
                <a:gd name="T47" fmla="*/ 2032 h 2432"/>
                <a:gd name="T48" fmla="*/ 1086 w 1490"/>
                <a:gd name="T49" fmla="*/ 1483 h 2432"/>
                <a:gd name="T50" fmla="*/ 926 w 1490"/>
                <a:gd name="T51" fmla="*/ 1483 h 2432"/>
                <a:gd name="T52" fmla="*/ 926 w 1490"/>
                <a:gd name="T53" fmla="*/ 1601 h 2432"/>
                <a:gd name="T54" fmla="*/ 745 w 1490"/>
                <a:gd name="T55" fmla="*/ 1443 h 2432"/>
                <a:gd name="T56" fmla="*/ 198 w 1490"/>
                <a:gd name="T57" fmla="*/ 1924 h 2432"/>
                <a:gd name="T58" fmla="*/ 198 w 1490"/>
                <a:gd name="T59" fmla="*/ 2071 h 2432"/>
                <a:gd name="T60" fmla="*/ 745 w 1490"/>
                <a:gd name="T61" fmla="*/ 1590 h 2432"/>
                <a:gd name="T62" fmla="*/ 1293 w 1490"/>
                <a:gd name="T63" fmla="*/ 2071 h 2432"/>
                <a:gd name="T64" fmla="*/ 1293 w 1490"/>
                <a:gd name="T65" fmla="*/ 1924 h 2432"/>
                <a:gd name="T66" fmla="*/ 1086 w 1490"/>
                <a:gd name="T67" fmla="*/ 1742 h 2432"/>
                <a:gd name="T68" fmla="*/ 1086 w 1490"/>
                <a:gd name="T69" fmla="*/ 1483 h 2432"/>
                <a:gd name="T70" fmla="*/ 745 w 1490"/>
                <a:gd name="T71" fmla="*/ 1287 h 2432"/>
                <a:gd name="T72" fmla="*/ 1091 w 1490"/>
                <a:gd name="T73" fmla="*/ 1085 h 2432"/>
                <a:gd name="T74" fmla="*/ 745 w 1490"/>
                <a:gd name="T75" fmla="*/ 1228 h 2432"/>
                <a:gd name="T76" fmla="*/ 400 w 1490"/>
                <a:gd name="T77" fmla="*/ 1085 h 2432"/>
                <a:gd name="T78" fmla="*/ 745 w 1490"/>
                <a:gd name="T79" fmla="*/ 1287 h 2432"/>
                <a:gd name="T80" fmla="*/ 745 w 1490"/>
                <a:gd name="T81" fmla="*/ 1115 h 2432"/>
                <a:gd name="T82" fmla="*/ 982 w 1490"/>
                <a:gd name="T83" fmla="*/ 959 h 2432"/>
                <a:gd name="T84" fmla="*/ 745 w 1490"/>
                <a:gd name="T85" fmla="*/ 1063 h 2432"/>
                <a:gd name="T86" fmla="*/ 509 w 1490"/>
                <a:gd name="T87" fmla="*/ 959 h 2432"/>
                <a:gd name="T88" fmla="*/ 745 w 1490"/>
                <a:gd name="T89" fmla="*/ 1115 h 2432"/>
                <a:gd name="T90" fmla="*/ 883 w 1490"/>
                <a:gd name="T91" fmla="*/ 866 h 2432"/>
                <a:gd name="T92" fmla="*/ 745 w 1490"/>
                <a:gd name="T93" fmla="*/ 923 h 2432"/>
                <a:gd name="T94" fmla="*/ 608 w 1490"/>
                <a:gd name="T95" fmla="*/ 866 h 2432"/>
                <a:gd name="T96" fmla="*/ 745 w 1490"/>
                <a:gd name="T97" fmla="*/ 969 h 2432"/>
                <a:gd name="T98" fmla="*/ 883 w 1490"/>
                <a:gd name="T99" fmla="*/ 866 h 2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90" h="2432">
                  <a:moveTo>
                    <a:pt x="1222" y="199"/>
                  </a:moveTo>
                  <a:cubicBezTo>
                    <a:pt x="1171" y="199"/>
                    <a:pt x="1123" y="214"/>
                    <a:pt x="1082" y="239"/>
                  </a:cubicBezTo>
                  <a:cubicBezTo>
                    <a:pt x="1015" y="98"/>
                    <a:pt x="871" y="0"/>
                    <a:pt x="705" y="0"/>
                  </a:cubicBezTo>
                  <a:cubicBezTo>
                    <a:pt x="506" y="0"/>
                    <a:pt x="340" y="140"/>
                    <a:pt x="298" y="326"/>
                  </a:cubicBezTo>
                  <a:cubicBezTo>
                    <a:pt x="272" y="315"/>
                    <a:pt x="244" y="309"/>
                    <a:pt x="214" y="309"/>
                  </a:cubicBezTo>
                  <a:cubicBezTo>
                    <a:pt x="96" y="309"/>
                    <a:pt x="0" y="404"/>
                    <a:pt x="0" y="522"/>
                  </a:cubicBezTo>
                  <a:cubicBezTo>
                    <a:pt x="0" y="640"/>
                    <a:pt x="96" y="736"/>
                    <a:pt x="214" y="736"/>
                  </a:cubicBezTo>
                  <a:cubicBezTo>
                    <a:pt x="1222" y="736"/>
                    <a:pt x="1222" y="736"/>
                    <a:pt x="1222" y="736"/>
                  </a:cubicBezTo>
                  <a:cubicBezTo>
                    <a:pt x="1370" y="736"/>
                    <a:pt x="1490" y="616"/>
                    <a:pt x="1490" y="467"/>
                  </a:cubicBezTo>
                  <a:cubicBezTo>
                    <a:pt x="1490" y="319"/>
                    <a:pt x="1370" y="199"/>
                    <a:pt x="1222" y="199"/>
                  </a:cubicBezTo>
                  <a:close/>
                  <a:moveTo>
                    <a:pt x="318" y="2032"/>
                  </a:moveTo>
                  <a:cubicBezTo>
                    <a:pt x="318" y="2398"/>
                    <a:pt x="318" y="2398"/>
                    <a:pt x="318" y="2398"/>
                  </a:cubicBezTo>
                  <a:cubicBezTo>
                    <a:pt x="318" y="2417"/>
                    <a:pt x="333" y="2432"/>
                    <a:pt x="351" y="2432"/>
                  </a:cubicBezTo>
                  <a:cubicBezTo>
                    <a:pt x="605" y="2432"/>
                    <a:pt x="605" y="2432"/>
                    <a:pt x="605" y="2432"/>
                  </a:cubicBezTo>
                  <a:cubicBezTo>
                    <a:pt x="605" y="2091"/>
                    <a:pt x="605" y="2091"/>
                    <a:pt x="605" y="2091"/>
                  </a:cubicBezTo>
                  <a:cubicBezTo>
                    <a:pt x="605" y="2073"/>
                    <a:pt x="620" y="2058"/>
                    <a:pt x="639" y="2058"/>
                  </a:cubicBezTo>
                  <a:cubicBezTo>
                    <a:pt x="852" y="2058"/>
                    <a:pt x="852" y="2058"/>
                    <a:pt x="852" y="2058"/>
                  </a:cubicBezTo>
                  <a:cubicBezTo>
                    <a:pt x="871" y="2058"/>
                    <a:pt x="886" y="2073"/>
                    <a:pt x="886" y="2091"/>
                  </a:cubicBezTo>
                  <a:cubicBezTo>
                    <a:pt x="886" y="2432"/>
                    <a:pt x="886" y="2432"/>
                    <a:pt x="886" y="2432"/>
                  </a:cubicBezTo>
                  <a:cubicBezTo>
                    <a:pt x="1140" y="2432"/>
                    <a:pt x="1140" y="2432"/>
                    <a:pt x="1140" y="2432"/>
                  </a:cubicBezTo>
                  <a:cubicBezTo>
                    <a:pt x="1158" y="2432"/>
                    <a:pt x="1173" y="2417"/>
                    <a:pt x="1173" y="2398"/>
                  </a:cubicBezTo>
                  <a:cubicBezTo>
                    <a:pt x="1173" y="2032"/>
                    <a:pt x="1173" y="2032"/>
                    <a:pt x="1173" y="2032"/>
                  </a:cubicBezTo>
                  <a:cubicBezTo>
                    <a:pt x="745" y="1657"/>
                    <a:pt x="745" y="1657"/>
                    <a:pt x="745" y="1657"/>
                  </a:cubicBezTo>
                  <a:lnTo>
                    <a:pt x="318" y="2032"/>
                  </a:lnTo>
                  <a:close/>
                  <a:moveTo>
                    <a:pt x="1086" y="1483"/>
                  </a:moveTo>
                  <a:cubicBezTo>
                    <a:pt x="926" y="1483"/>
                    <a:pt x="926" y="1483"/>
                    <a:pt x="926" y="1483"/>
                  </a:cubicBezTo>
                  <a:cubicBezTo>
                    <a:pt x="926" y="1601"/>
                    <a:pt x="926" y="1601"/>
                    <a:pt x="926" y="1601"/>
                  </a:cubicBezTo>
                  <a:cubicBezTo>
                    <a:pt x="745" y="1443"/>
                    <a:pt x="745" y="1443"/>
                    <a:pt x="745" y="1443"/>
                  </a:cubicBezTo>
                  <a:cubicBezTo>
                    <a:pt x="198" y="1924"/>
                    <a:pt x="198" y="1924"/>
                    <a:pt x="198" y="1924"/>
                  </a:cubicBezTo>
                  <a:cubicBezTo>
                    <a:pt x="198" y="2071"/>
                    <a:pt x="198" y="2071"/>
                    <a:pt x="198" y="2071"/>
                  </a:cubicBezTo>
                  <a:cubicBezTo>
                    <a:pt x="745" y="1590"/>
                    <a:pt x="745" y="1590"/>
                    <a:pt x="745" y="1590"/>
                  </a:cubicBezTo>
                  <a:cubicBezTo>
                    <a:pt x="1293" y="2071"/>
                    <a:pt x="1293" y="2071"/>
                    <a:pt x="1293" y="2071"/>
                  </a:cubicBezTo>
                  <a:cubicBezTo>
                    <a:pt x="1293" y="1924"/>
                    <a:pt x="1293" y="1924"/>
                    <a:pt x="1293" y="1924"/>
                  </a:cubicBezTo>
                  <a:cubicBezTo>
                    <a:pt x="1086" y="1742"/>
                    <a:pt x="1086" y="1742"/>
                    <a:pt x="1086" y="1742"/>
                  </a:cubicBezTo>
                  <a:lnTo>
                    <a:pt x="1086" y="1483"/>
                  </a:lnTo>
                  <a:close/>
                  <a:moveTo>
                    <a:pt x="745" y="1287"/>
                  </a:moveTo>
                  <a:cubicBezTo>
                    <a:pt x="906" y="1289"/>
                    <a:pt x="1041" y="1191"/>
                    <a:pt x="1091" y="1085"/>
                  </a:cubicBezTo>
                  <a:cubicBezTo>
                    <a:pt x="1001" y="1176"/>
                    <a:pt x="874" y="1228"/>
                    <a:pt x="745" y="1228"/>
                  </a:cubicBezTo>
                  <a:cubicBezTo>
                    <a:pt x="617" y="1228"/>
                    <a:pt x="490" y="1176"/>
                    <a:pt x="400" y="1085"/>
                  </a:cubicBezTo>
                  <a:cubicBezTo>
                    <a:pt x="449" y="1191"/>
                    <a:pt x="585" y="1289"/>
                    <a:pt x="745" y="1287"/>
                  </a:cubicBezTo>
                  <a:close/>
                  <a:moveTo>
                    <a:pt x="745" y="1115"/>
                  </a:moveTo>
                  <a:cubicBezTo>
                    <a:pt x="862" y="1116"/>
                    <a:pt x="952" y="1037"/>
                    <a:pt x="982" y="959"/>
                  </a:cubicBezTo>
                  <a:cubicBezTo>
                    <a:pt x="919" y="1022"/>
                    <a:pt x="834" y="1064"/>
                    <a:pt x="745" y="1063"/>
                  </a:cubicBezTo>
                  <a:cubicBezTo>
                    <a:pt x="657" y="1064"/>
                    <a:pt x="572" y="1022"/>
                    <a:pt x="509" y="959"/>
                  </a:cubicBezTo>
                  <a:cubicBezTo>
                    <a:pt x="539" y="1037"/>
                    <a:pt x="629" y="1116"/>
                    <a:pt x="745" y="1115"/>
                  </a:cubicBezTo>
                  <a:close/>
                  <a:moveTo>
                    <a:pt x="883" y="866"/>
                  </a:moveTo>
                  <a:cubicBezTo>
                    <a:pt x="847" y="903"/>
                    <a:pt x="796" y="923"/>
                    <a:pt x="745" y="923"/>
                  </a:cubicBezTo>
                  <a:cubicBezTo>
                    <a:pt x="694" y="923"/>
                    <a:pt x="644" y="903"/>
                    <a:pt x="608" y="866"/>
                  </a:cubicBezTo>
                  <a:cubicBezTo>
                    <a:pt x="618" y="918"/>
                    <a:pt x="675" y="969"/>
                    <a:pt x="745" y="969"/>
                  </a:cubicBezTo>
                  <a:cubicBezTo>
                    <a:pt x="816" y="969"/>
                    <a:pt x="873" y="918"/>
                    <a:pt x="883" y="866"/>
                  </a:cubicBezTo>
                  <a:close/>
                </a:path>
              </a:pathLst>
            </a:custGeom>
            <a:solidFill>
              <a:srgbClr val="00188F"/>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88"/>
            <p:cNvSpPr>
              <a:spLocks noEditPoints="1"/>
            </p:cNvSpPr>
            <p:nvPr/>
          </p:nvSpPr>
          <p:spPr bwMode="black">
            <a:xfrm>
              <a:off x="11631450" y="858042"/>
              <a:ext cx="543120" cy="675214"/>
            </a:xfrm>
            <a:custGeom>
              <a:avLst/>
              <a:gdLst>
                <a:gd name="T0" fmla="*/ 643 w 1766"/>
                <a:gd name="T1" fmla="*/ 1936 h 2204"/>
                <a:gd name="T2" fmla="*/ 1224 w 1766"/>
                <a:gd name="T3" fmla="*/ 1818 h 2204"/>
                <a:gd name="T4" fmla="*/ 1224 w 1766"/>
                <a:gd name="T5" fmla="*/ 118 h 2204"/>
                <a:gd name="T6" fmla="*/ 643 w 1766"/>
                <a:gd name="T7" fmla="*/ 0 h 2204"/>
                <a:gd name="T8" fmla="*/ 575 w 1766"/>
                <a:gd name="T9" fmla="*/ 360 h 2204"/>
                <a:gd name="T10" fmla="*/ 763 w 1766"/>
                <a:gd name="T11" fmla="*/ 473 h 2204"/>
                <a:gd name="T12" fmla="*/ 598 w 1766"/>
                <a:gd name="T13" fmla="*/ 587 h 2204"/>
                <a:gd name="T14" fmla="*/ 763 w 1766"/>
                <a:gd name="T15" fmla="*/ 701 h 2204"/>
                <a:gd name="T16" fmla="*/ 611 w 1766"/>
                <a:gd name="T17" fmla="*/ 815 h 2204"/>
                <a:gd name="T18" fmla="*/ 763 w 1766"/>
                <a:gd name="T19" fmla="*/ 929 h 2204"/>
                <a:gd name="T20" fmla="*/ 550 w 1766"/>
                <a:gd name="T21" fmla="*/ 1765 h 2204"/>
                <a:gd name="T22" fmla="*/ 883 w 1766"/>
                <a:gd name="T23" fmla="*/ 1512 h 2204"/>
                <a:gd name="T24" fmla="*/ 883 w 1766"/>
                <a:gd name="T25" fmla="*/ 1748 h 2204"/>
                <a:gd name="T26" fmla="*/ 883 w 1766"/>
                <a:gd name="T27" fmla="*/ 1512 h 2204"/>
                <a:gd name="T28" fmla="*/ 938 w 1766"/>
                <a:gd name="T29" fmla="*/ 1630 h 2204"/>
                <a:gd name="T30" fmla="*/ 828 w 1766"/>
                <a:gd name="T31" fmla="*/ 1630 h 2204"/>
                <a:gd name="T32" fmla="*/ 1334 w 1766"/>
                <a:gd name="T33" fmla="*/ 1765 h 2204"/>
                <a:gd name="T34" fmla="*/ 1299 w 1766"/>
                <a:gd name="T35" fmla="*/ 1806 h 2204"/>
                <a:gd name="T36" fmla="*/ 1123 w 1766"/>
                <a:gd name="T37" fmla="*/ 2012 h 2204"/>
                <a:gd name="T38" fmla="*/ 507 w 1766"/>
                <a:gd name="T39" fmla="*/ 1951 h 2204"/>
                <a:gd name="T40" fmla="*/ 473 w 1766"/>
                <a:gd name="T41" fmla="*/ 1765 h 2204"/>
                <a:gd name="T42" fmla="*/ 272 w 1766"/>
                <a:gd name="T43" fmla="*/ 1925 h 2204"/>
                <a:gd name="T44" fmla="*/ 432 w 1766"/>
                <a:gd name="T45" fmla="*/ 2204 h 2204"/>
                <a:gd name="T46" fmla="*/ 1494 w 1766"/>
                <a:gd name="T47" fmla="*/ 2044 h 2204"/>
                <a:gd name="T48" fmla="*/ 1334 w 1766"/>
                <a:gd name="T49" fmla="*/ 1765 h 2204"/>
                <a:gd name="T50" fmla="*/ 1318 w 1766"/>
                <a:gd name="T51" fmla="*/ 531 h 2204"/>
                <a:gd name="T52" fmla="*/ 1426 w 1766"/>
                <a:gd name="T53" fmla="*/ 676 h 2204"/>
                <a:gd name="T54" fmla="*/ 448 w 1766"/>
                <a:gd name="T55" fmla="*/ 531 h 2204"/>
                <a:gd name="T56" fmla="*/ 448 w 1766"/>
                <a:gd name="T57" fmla="*/ 822 h 2204"/>
                <a:gd name="T58" fmla="*/ 1701 w 1766"/>
                <a:gd name="T59" fmla="*/ 676 h 2204"/>
                <a:gd name="T60" fmla="*/ 1764 w 1766"/>
                <a:gd name="T61" fmla="*/ 676 h 2204"/>
                <a:gd name="T62" fmla="*/ 1416 w 1766"/>
                <a:gd name="T63" fmla="*/ 426 h 2204"/>
                <a:gd name="T64" fmla="*/ 1416 w 1766"/>
                <a:gd name="T65" fmla="*/ 927 h 2204"/>
                <a:gd name="T66" fmla="*/ 1416 w 1766"/>
                <a:gd name="T67" fmla="*/ 426 h 2204"/>
                <a:gd name="T68" fmla="*/ 350 w 1766"/>
                <a:gd name="T69" fmla="*/ 426 h 2204"/>
                <a:gd name="T70" fmla="*/ 350 w 1766"/>
                <a:gd name="T71" fmla="*/ 927 h 2204"/>
                <a:gd name="T72" fmla="*/ 217 w 1766"/>
                <a:gd name="T73" fmla="*/ 310 h 2204"/>
                <a:gd name="T74" fmla="*/ 217 w 1766"/>
                <a:gd name="T75" fmla="*/ 1043 h 2204"/>
                <a:gd name="T76" fmla="*/ 217 w 1766"/>
                <a:gd name="T77" fmla="*/ 310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66" h="2204">
                  <a:moveTo>
                    <a:pt x="542" y="1818"/>
                  </a:moveTo>
                  <a:cubicBezTo>
                    <a:pt x="532" y="1883"/>
                    <a:pt x="577" y="1936"/>
                    <a:pt x="643" y="1936"/>
                  </a:cubicBezTo>
                  <a:cubicBezTo>
                    <a:pt x="1123" y="1936"/>
                    <a:pt x="1123" y="1936"/>
                    <a:pt x="1123" y="1936"/>
                  </a:cubicBezTo>
                  <a:cubicBezTo>
                    <a:pt x="1189" y="1936"/>
                    <a:pt x="1234" y="1883"/>
                    <a:pt x="1224" y="1818"/>
                  </a:cubicBezTo>
                  <a:cubicBezTo>
                    <a:pt x="1221" y="1800"/>
                    <a:pt x="1219" y="1783"/>
                    <a:pt x="1216" y="1765"/>
                  </a:cubicBezTo>
                  <a:cubicBezTo>
                    <a:pt x="1129" y="1162"/>
                    <a:pt x="1132" y="731"/>
                    <a:pt x="1224" y="118"/>
                  </a:cubicBezTo>
                  <a:cubicBezTo>
                    <a:pt x="1234" y="52"/>
                    <a:pt x="1189" y="0"/>
                    <a:pt x="1123" y="0"/>
                  </a:cubicBezTo>
                  <a:cubicBezTo>
                    <a:pt x="643" y="0"/>
                    <a:pt x="643" y="0"/>
                    <a:pt x="643" y="0"/>
                  </a:cubicBezTo>
                  <a:cubicBezTo>
                    <a:pt x="577" y="0"/>
                    <a:pt x="532" y="52"/>
                    <a:pt x="542" y="118"/>
                  </a:cubicBezTo>
                  <a:cubicBezTo>
                    <a:pt x="555" y="202"/>
                    <a:pt x="565" y="282"/>
                    <a:pt x="575" y="360"/>
                  </a:cubicBezTo>
                  <a:cubicBezTo>
                    <a:pt x="763" y="360"/>
                    <a:pt x="763" y="360"/>
                    <a:pt x="763" y="360"/>
                  </a:cubicBezTo>
                  <a:cubicBezTo>
                    <a:pt x="763" y="473"/>
                    <a:pt x="763" y="473"/>
                    <a:pt x="763" y="473"/>
                  </a:cubicBezTo>
                  <a:cubicBezTo>
                    <a:pt x="587" y="473"/>
                    <a:pt x="587" y="473"/>
                    <a:pt x="587" y="473"/>
                  </a:cubicBezTo>
                  <a:cubicBezTo>
                    <a:pt x="591" y="512"/>
                    <a:pt x="595" y="550"/>
                    <a:pt x="598" y="587"/>
                  </a:cubicBezTo>
                  <a:cubicBezTo>
                    <a:pt x="763" y="587"/>
                    <a:pt x="763" y="587"/>
                    <a:pt x="763" y="587"/>
                  </a:cubicBezTo>
                  <a:cubicBezTo>
                    <a:pt x="763" y="701"/>
                    <a:pt x="763" y="701"/>
                    <a:pt x="763" y="701"/>
                  </a:cubicBezTo>
                  <a:cubicBezTo>
                    <a:pt x="605" y="701"/>
                    <a:pt x="605" y="701"/>
                    <a:pt x="605" y="701"/>
                  </a:cubicBezTo>
                  <a:cubicBezTo>
                    <a:pt x="608" y="739"/>
                    <a:pt x="609" y="777"/>
                    <a:pt x="611" y="815"/>
                  </a:cubicBezTo>
                  <a:cubicBezTo>
                    <a:pt x="763" y="815"/>
                    <a:pt x="763" y="815"/>
                    <a:pt x="763" y="815"/>
                  </a:cubicBezTo>
                  <a:cubicBezTo>
                    <a:pt x="763" y="929"/>
                    <a:pt x="763" y="929"/>
                    <a:pt x="763" y="929"/>
                  </a:cubicBezTo>
                  <a:cubicBezTo>
                    <a:pt x="613" y="929"/>
                    <a:pt x="613" y="929"/>
                    <a:pt x="613" y="929"/>
                  </a:cubicBezTo>
                  <a:cubicBezTo>
                    <a:pt x="615" y="1194"/>
                    <a:pt x="594" y="1457"/>
                    <a:pt x="550" y="1765"/>
                  </a:cubicBezTo>
                  <a:cubicBezTo>
                    <a:pt x="547" y="1783"/>
                    <a:pt x="545" y="1800"/>
                    <a:pt x="542" y="1818"/>
                  </a:cubicBezTo>
                  <a:close/>
                  <a:moveTo>
                    <a:pt x="883" y="1512"/>
                  </a:moveTo>
                  <a:cubicBezTo>
                    <a:pt x="948" y="1512"/>
                    <a:pt x="1001" y="1565"/>
                    <a:pt x="1001" y="1630"/>
                  </a:cubicBezTo>
                  <a:cubicBezTo>
                    <a:pt x="1001" y="1696"/>
                    <a:pt x="948" y="1748"/>
                    <a:pt x="883" y="1748"/>
                  </a:cubicBezTo>
                  <a:cubicBezTo>
                    <a:pt x="818" y="1748"/>
                    <a:pt x="765" y="1696"/>
                    <a:pt x="765" y="1630"/>
                  </a:cubicBezTo>
                  <a:cubicBezTo>
                    <a:pt x="765" y="1565"/>
                    <a:pt x="818" y="1512"/>
                    <a:pt x="883" y="1512"/>
                  </a:cubicBezTo>
                  <a:close/>
                  <a:moveTo>
                    <a:pt x="883" y="1685"/>
                  </a:moveTo>
                  <a:cubicBezTo>
                    <a:pt x="913" y="1685"/>
                    <a:pt x="938" y="1661"/>
                    <a:pt x="938" y="1630"/>
                  </a:cubicBezTo>
                  <a:cubicBezTo>
                    <a:pt x="938" y="1600"/>
                    <a:pt x="913" y="1576"/>
                    <a:pt x="883" y="1576"/>
                  </a:cubicBezTo>
                  <a:cubicBezTo>
                    <a:pt x="853" y="1576"/>
                    <a:pt x="828" y="1600"/>
                    <a:pt x="828" y="1630"/>
                  </a:cubicBezTo>
                  <a:cubicBezTo>
                    <a:pt x="828" y="1661"/>
                    <a:pt x="853" y="1685"/>
                    <a:pt x="883" y="1685"/>
                  </a:cubicBezTo>
                  <a:close/>
                  <a:moveTo>
                    <a:pt x="1334" y="1765"/>
                  </a:moveTo>
                  <a:cubicBezTo>
                    <a:pt x="1293" y="1765"/>
                    <a:pt x="1293" y="1765"/>
                    <a:pt x="1293" y="1765"/>
                  </a:cubicBezTo>
                  <a:cubicBezTo>
                    <a:pt x="1295" y="1779"/>
                    <a:pt x="1297" y="1792"/>
                    <a:pt x="1299" y="1806"/>
                  </a:cubicBezTo>
                  <a:cubicBezTo>
                    <a:pt x="1307" y="1860"/>
                    <a:pt x="1293" y="1913"/>
                    <a:pt x="1259" y="1951"/>
                  </a:cubicBezTo>
                  <a:cubicBezTo>
                    <a:pt x="1226" y="1991"/>
                    <a:pt x="1177" y="2012"/>
                    <a:pt x="1123" y="2012"/>
                  </a:cubicBezTo>
                  <a:cubicBezTo>
                    <a:pt x="643" y="2012"/>
                    <a:pt x="643" y="2012"/>
                    <a:pt x="643" y="2012"/>
                  </a:cubicBezTo>
                  <a:cubicBezTo>
                    <a:pt x="589" y="2012"/>
                    <a:pt x="540" y="1991"/>
                    <a:pt x="507" y="1951"/>
                  </a:cubicBezTo>
                  <a:cubicBezTo>
                    <a:pt x="473" y="1913"/>
                    <a:pt x="459" y="1860"/>
                    <a:pt x="467" y="1806"/>
                  </a:cubicBezTo>
                  <a:cubicBezTo>
                    <a:pt x="469" y="1792"/>
                    <a:pt x="471" y="1779"/>
                    <a:pt x="473" y="1765"/>
                  </a:cubicBezTo>
                  <a:cubicBezTo>
                    <a:pt x="432" y="1765"/>
                    <a:pt x="432" y="1765"/>
                    <a:pt x="432" y="1765"/>
                  </a:cubicBezTo>
                  <a:cubicBezTo>
                    <a:pt x="344" y="1765"/>
                    <a:pt x="272" y="1837"/>
                    <a:pt x="272" y="1925"/>
                  </a:cubicBezTo>
                  <a:cubicBezTo>
                    <a:pt x="272" y="2044"/>
                    <a:pt x="272" y="2044"/>
                    <a:pt x="272" y="2044"/>
                  </a:cubicBezTo>
                  <a:cubicBezTo>
                    <a:pt x="272" y="2132"/>
                    <a:pt x="344" y="2204"/>
                    <a:pt x="432" y="2204"/>
                  </a:cubicBezTo>
                  <a:cubicBezTo>
                    <a:pt x="1334" y="2204"/>
                    <a:pt x="1334" y="2204"/>
                    <a:pt x="1334" y="2204"/>
                  </a:cubicBezTo>
                  <a:cubicBezTo>
                    <a:pt x="1422" y="2204"/>
                    <a:pt x="1494" y="2132"/>
                    <a:pt x="1494" y="2044"/>
                  </a:cubicBezTo>
                  <a:cubicBezTo>
                    <a:pt x="1494" y="1925"/>
                    <a:pt x="1494" y="1925"/>
                    <a:pt x="1494" y="1925"/>
                  </a:cubicBezTo>
                  <a:cubicBezTo>
                    <a:pt x="1494" y="1837"/>
                    <a:pt x="1422" y="1765"/>
                    <a:pt x="1334" y="1765"/>
                  </a:cubicBezTo>
                  <a:close/>
                  <a:moveTo>
                    <a:pt x="1426" y="676"/>
                  </a:moveTo>
                  <a:cubicBezTo>
                    <a:pt x="1427" y="601"/>
                    <a:pt x="1373" y="541"/>
                    <a:pt x="1318" y="531"/>
                  </a:cubicBezTo>
                  <a:cubicBezTo>
                    <a:pt x="1398" y="606"/>
                    <a:pt x="1398" y="746"/>
                    <a:pt x="1318" y="822"/>
                  </a:cubicBezTo>
                  <a:cubicBezTo>
                    <a:pt x="1373" y="812"/>
                    <a:pt x="1427" y="751"/>
                    <a:pt x="1426" y="676"/>
                  </a:cubicBezTo>
                  <a:close/>
                  <a:moveTo>
                    <a:pt x="448" y="822"/>
                  </a:moveTo>
                  <a:cubicBezTo>
                    <a:pt x="368" y="746"/>
                    <a:pt x="368" y="606"/>
                    <a:pt x="448" y="531"/>
                  </a:cubicBezTo>
                  <a:cubicBezTo>
                    <a:pt x="393" y="541"/>
                    <a:pt x="339" y="601"/>
                    <a:pt x="340" y="676"/>
                  </a:cubicBezTo>
                  <a:cubicBezTo>
                    <a:pt x="339" y="751"/>
                    <a:pt x="393" y="812"/>
                    <a:pt x="448" y="822"/>
                  </a:cubicBezTo>
                  <a:close/>
                  <a:moveTo>
                    <a:pt x="1549" y="310"/>
                  </a:moveTo>
                  <a:cubicBezTo>
                    <a:pt x="1646" y="405"/>
                    <a:pt x="1702" y="540"/>
                    <a:pt x="1701" y="676"/>
                  </a:cubicBezTo>
                  <a:cubicBezTo>
                    <a:pt x="1702" y="812"/>
                    <a:pt x="1646" y="947"/>
                    <a:pt x="1549" y="1043"/>
                  </a:cubicBezTo>
                  <a:cubicBezTo>
                    <a:pt x="1662" y="990"/>
                    <a:pt x="1766" y="846"/>
                    <a:pt x="1764" y="676"/>
                  </a:cubicBezTo>
                  <a:cubicBezTo>
                    <a:pt x="1766" y="506"/>
                    <a:pt x="1662" y="362"/>
                    <a:pt x="1549" y="310"/>
                  </a:cubicBezTo>
                  <a:close/>
                  <a:moveTo>
                    <a:pt x="1416" y="426"/>
                  </a:moveTo>
                  <a:cubicBezTo>
                    <a:pt x="1483" y="492"/>
                    <a:pt x="1527" y="583"/>
                    <a:pt x="1527" y="676"/>
                  </a:cubicBezTo>
                  <a:cubicBezTo>
                    <a:pt x="1527" y="770"/>
                    <a:pt x="1483" y="860"/>
                    <a:pt x="1416" y="927"/>
                  </a:cubicBezTo>
                  <a:cubicBezTo>
                    <a:pt x="1499" y="895"/>
                    <a:pt x="1582" y="800"/>
                    <a:pt x="1582" y="676"/>
                  </a:cubicBezTo>
                  <a:cubicBezTo>
                    <a:pt x="1582" y="553"/>
                    <a:pt x="1499" y="457"/>
                    <a:pt x="1416" y="426"/>
                  </a:cubicBezTo>
                  <a:close/>
                  <a:moveTo>
                    <a:pt x="239" y="676"/>
                  </a:moveTo>
                  <a:cubicBezTo>
                    <a:pt x="239" y="583"/>
                    <a:pt x="283" y="492"/>
                    <a:pt x="350" y="426"/>
                  </a:cubicBezTo>
                  <a:cubicBezTo>
                    <a:pt x="267" y="457"/>
                    <a:pt x="184" y="553"/>
                    <a:pt x="184" y="676"/>
                  </a:cubicBezTo>
                  <a:cubicBezTo>
                    <a:pt x="184" y="800"/>
                    <a:pt x="267" y="895"/>
                    <a:pt x="350" y="927"/>
                  </a:cubicBezTo>
                  <a:cubicBezTo>
                    <a:pt x="283" y="860"/>
                    <a:pt x="239" y="770"/>
                    <a:pt x="239" y="676"/>
                  </a:cubicBezTo>
                  <a:close/>
                  <a:moveTo>
                    <a:pt x="217" y="310"/>
                  </a:moveTo>
                  <a:cubicBezTo>
                    <a:pt x="104" y="362"/>
                    <a:pt x="0" y="506"/>
                    <a:pt x="2" y="676"/>
                  </a:cubicBezTo>
                  <a:cubicBezTo>
                    <a:pt x="0" y="846"/>
                    <a:pt x="104" y="990"/>
                    <a:pt x="217" y="1043"/>
                  </a:cubicBezTo>
                  <a:cubicBezTo>
                    <a:pt x="120" y="947"/>
                    <a:pt x="64" y="812"/>
                    <a:pt x="65" y="676"/>
                  </a:cubicBezTo>
                  <a:cubicBezTo>
                    <a:pt x="64" y="540"/>
                    <a:pt x="120" y="405"/>
                    <a:pt x="217" y="310"/>
                  </a:cubicBezTo>
                  <a:close/>
                </a:path>
              </a:pathLst>
            </a:custGeom>
            <a:solidFill>
              <a:schemeClr val="accent3"/>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73"/>
            <p:cNvSpPr>
              <a:spLocks noEditPoints="1"/>
            </p:cNvSpPr>
            <p:nvPr/>
          </p:nvSpPr>
          <p:spPr bwMode="black">
            <a:xfrm>
              <a:off x="8898841" y="4504995"/>
              <a:ext cx="624514" cy="60288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00BCF2"/>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81"/>
            <p:cNvSpPr>
              <a:spLocks noEditPoints="1"/>
            </p:cNvSpPr>
            <p:nvPr/>
          </p:nvSpPr>
          <p:spPr bwMode="black">
            <a:xfrm>
              <a:off x="9617872" y="3888833"/>
              <a:ext cx="1025671" cy="6260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4"/>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90"/>
            <p:cNvSpPr>
              <a:spLocks noEditPoints="1"/>
            </p:cNvSpPr>
            <p:nvPr/>
          </p:nvSpPr>
          <p:spPr bwMode="black">
            <a:xfrm>
              <a:off x="10993843" y="1285173"/>
              <a:ext cx="324638" cy="356169"/>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4"/>
            </a:solidFill>
            <a:ln>
              <a:noFill/>
            </a:ln>
            <a:extLst/>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grpSp>
          <p:nvGrpSpPr>
            <p:cNvPr id="31" name="Group 103"/>
            <p:cNvGrpSpPr>
              <a:grpSpLocks noChangeAspect="1"/>
            </p:cNvGrpSpPr>
            <p:nvPr/>
          </p:nvGrpSpPr>
          <p:grpSpPr bwMode="black">
            <a:xfrm>
              <a:off x="9053290" y="124517"/>
              <a:ext cx="729349" cy="551318"/>
              <a:chOff x="5152725" y="4450437"/>
              <a:chExt cx="311284" cy="235362"/>
            </a:xfrm>
            <a:solidFill>
              <a:schemeClr val="accent3"/>
            </a:solidFill>
          </p:grpSpPr>
          <p:sp>
            <p:nvSpPr>
              <p:cNvPr id="85"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chemeClr val="accent4"/>
              </a:solidFill>
              <a:ln>
                <a:solidFill>
                  <a:schemeClr val="accent4"/>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86"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accent4"/>
              </a:solidFill>
              <a:ln>
                <a:solidFill>
                  <a:schemeClr val="accent4"/>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sp>
          <p:nvSpPr>
            <p:cNvPr id="32" name="Freeform 11"/>
            <p:cNvSpPr>
              <a:spLocks noEditPoints="1"/>
            </p:cNvSpPr>
            <p:nvPr/>
          </p:nvSpPr>
          <p:spPr bwMode="gray">
            <a:xfrm>
              <a:off x="11522174" y="1839603"/>
              <a:ext cx="866420" cy="645873"/>
            </a:xfrm>
            <a:custGeom>
              <a:avLst/>
              <a:gdLst>
                <a:gd name="T0" fmla="*/ 165 w 194"/>
                <a:gd name="T1" fmla="*/ 83 h 144"/>
                <a:gd name="T2" fmla="*/ 178 w 194"/>
                <a:gd name="T3" fmla="*/ 131 h 144"/>
                <a:gd name="T4" fmla="*/ 23 w 194"/>
                <a:gd name="T5" fmla="*/ 21 h 144"/>
                <a:gd name="T6" fmla="*/ 70 w 194"/>
                <a:gd name="T7" fmla="*/ 5 h 144"/>
                <a:gd name="T8" fmla="*/ 40 w 194"/>
                <a:gd name="T9" fmla="*/ 1 h 144"/>
                <a:gd name="T10" fmla="*/ 34 w 194"/>
                <a:gd name="T11" fmla="*/ 17 h 144"/>
                <a:gd name="T12" fmla="*/ 0 w 194"/>
                <a:gd name="T13" fmla="*/ 22 h 144"/>
                <a:gd name="T14" fmla="*/ 16 w 194"/>
                <a:gd name="T15" fmla="*/ 14 h 144"/>
                <a:gd name="T16" fmla="*/ 122 w 194"/>
                <a:gd name="T17" fmla="*/ 131 h 144"/>
                <a:gd name="T18" fmla="*/ 32 w 194"/>
                <a:gd name="T19" fmla="*/ 72 h 144"/>
                <a:gd name="T20" fmla="*/ 59 w 194"/>
                <a:gd name="T21" fmla="*/ 36 h 144"/>
                <a:gd name="T22" fmla="*/ 66 w 194"/>
                <a:gd name="T23" fmla="*/ 55 h 144"/>
                <a:gd name="T24" fmla="*/ 70 w 194"/>
                <a:gd name="T25" fmla="*/ 28 h 144"/>
                <a:gd name="T26" fmla="*/ 96 w 194"/>
                <a:gd name="T27" fmla="*/ 8 h 144"/>
                <a:gd name="T28" fmla="*/ 146 w 194"/>
                <a:gd name="T29" fmla="*/ 112 h 144"/>
                <a:gd name="T30" fmla="*/ 145 w 194"/>
                <a:gd name="T31" fmla="*/ 90 h 144"/>
                <a:gd name="T32" fmla="*/ 116 w 194"/>
                <a:gd name="T33" fmla="*/ 120 h 144"/>
                <a:gd name="T34" fmla="*/ 65 w 194"/>
                <a:gd name="T35" fmla="*/ 89 h 144"/>
                <a:gd name="T36" fmla="*/ 65 w 194"/>
                <a:gd name="T37" fmla="*/ 62 h 144"/>
                <a:gd name="T38" fmla="*/ 44 w 194"/>
                <a:gd name="T39" fmla="*/ 72 h 144"/>
                <a:gd name="T40" fmla="*/ 76 w 194"/>
                <a:gd name="T41" fmla="*/ 120 h 144"/>
                <a:gd name="T42" fmla="*/ 48 w 194"/>
                <a:gd name="T43" fmla="*/ 91 h 144"/>
                <a:gd name="T44" fmla="*/ 76 w 194"/>
                <a:gd name="T45" fmla="*/ 120 h 144"/>
                <a:gd name="T46" fmla="*/ 74 w 194"/>
                <a:gd name="T47" fmla="*/ 98 h 144"/>
                <a:gd name="T48" fmla="*/ 93 w 194"/>
                <a:gd name="T49" fmla="*/ 99 h 144"/>
                <a:gd name="T50" fmla="*/ 72 w 194"/>
                <a:gd name="T51" fmla="*/ 63 h 144"/>
                <a:gd name="T52" fmla="*/ 73 w 194"/>
                <a:gd name="T53" fmla="*/ 90 h 144"/>
                <a:gd name="T54" fmla="*/ 93 w 194"/>
                <a:gd name="T55" fmla="*/ 64 h 144"/>
                <a:gd name="T56" fmla="*/ 87 w 194"/>
                <a:gd name="T57" fmla="*/ 23 h 144"/>
                <a:gd name="T58" fmla="*/ 93 w 194"/>
                <a:gd name="T59" fmla="*/ 57 h 144"/>
                <a:gd name="T60" fmla="*/ 146 w 194"/>
                <a:gd name="T61" fmla="*/ 57 h 144"/>
                <a:gd name="T62" fmla="*/ 128 w 194"/>
                <a:gd name="T63" fmla="*/ 73 h 144"/>
                <a:gd name="T64" fmla="*/ 148 w 194"/>
                <a:gd name="T65" fmla="*/ 79 h 144"/>
                <a:gd name="T66" fmla="*/ 146 w 194"/>
                <a:gd name="T67" fmla="*/ 57 h 144"/>
                <a:gd name="T68" fmla="*/ 127 w 194"/>
                <a:gd name="T69" fmla="*/ 55 h 144"/>
                <a:gd name="T70" fmla="*/ 133 w 194"/>
                <a:gd name="T71" fmla="*/ 36 h 144"/>
                <a:gd name="T72" fmla="*/ 100 w 194"/>
                <a:gd name="T73" fmla="*/ 57 h 144"/>
                <a:gd name="T74" fmla="*/ 100 w 194"/>
                <a:gd name="T75" fmla="*/ 21 h 144"/>
                <a:gd name="T76" fmla="*/ 100 w 194"/>
                <a:gd name="T77" fmla="*/ 57 h 144"/>
                <a:gd name="T78" fmla="*/ 120 w 194"/>
                <a:gd name="T79" fmla="*/ 90 h 144"/>
                <a:gd name="T80" fmla="*/ 121 w 194"/>
                <a:gd name="T81" fmla="*/ 63 h 144"/>
                <a:gd name="T82" fmla="*/ 100 w 194"/>
                <a:gd name="T83" fmla="*/ 92 h 144"/>
                <a:gd name="T84" fmla="*/ 118 w 194"/>
                <a:gd name="T85" fmla="*/ 98 h 144"/>
                <a:gd name="T86" fmla="*/ 100 w 194"/>
                <a:gd name="T87" fmla="*/ 124 h 144"/>
                <a:gd name="T88" fmla="*/ 160 w 194"/>
                <a:gd name="T89" fmla="*/ 127 h 144"/>
                <a:gd name="T90" fmla="*/ 130 w 194"/>
                <a:gd name="T91" fmla="*/ 110 h 144"/>
                <a:gd name="T92" fmla="*/ 137 w 194"/>
                <a:gd name="T93" fmla="*/ 135 h 144"/>
                <a:gd name="T94" fmla="*/ 178 w 194"/>
                <a:gd name="T95" fmla="*/ 13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4">
                  <a:moveTo>
                    <a:pt x="178" y="131"/>
                  </a:moveTo>
                  <a:cubicBezTo>
                    <a:pt x="185" y="116"/>
                    <a:pt x="165" y="83"/>
                    <a:pt x="165" y="83"/>
                  </a:cubicBezTo>
                  <a:cubicBezTo>
                    <a:pt x="165" y="83"/>
                    <a:pt x="194" y="100"/>
                    <a:pt x="194" y="123"/>
                  </a:cubicBezTo>
                  <a:cubicBezTo>
                    <a:pt x="190" y="125"/>
                    <a:pt x="184" y="128"/>
                    <a:pt x="178" y="131"/>
                  </a:cubicBezTo>
                  <a:close/>
                  <a:moveTo>
                    <a:pt x="34" y="17"/>
                  </a:moveTo>
                  <a:cubicBezTo>
                    <a:pt x="23" y="21"/>
                    <a:pt x="23" y="21"/>
                    <a:pt x="23" y="21"/>
                  </a:cubicBezTo>
                  <a:cubicBezTo>
                    <a:pt x="65" y="34"/>
                    <a:pt x="65" y="34"/>
                    <a:pt x="65" y="34"/>
                  </a:cubicBezTo>
                  <a:cubicBezTo>
                    <a:pt x="70" y="5"/>
                    <a:pt x="70" y="5"/>
                    <a:pt x="70" y="5"/>
                  </a:cubicBezTo>
                  <a:cubicBezTo>
                    <a:pt x="58" y="9"/>
                    <a:pt x="58" y="9"/>
                    <a:pt x="58" y="9"/>
                  </a:cubicBezTo>
                  <a:cubicBezTo>
                    <a:pt x="55" y="6"/>
                    <a:pt x="47" y="0"/>
                    <a:pt x="40" y="1"/>
                  </a:cubicBezTo>
                  <a:cubicBezTo>
                    <a:pt x="36" y="2"/>
                    <a:pt x="22" y="8"/>
                    <a:pt x="16" y="11"/>
                  </a:cubicBezTo>
                  <a:cubicBezTo>
                    <a:pt x="23" y="9"/>
                    <a:pt x="31" y="15"/>
                    <a:pt x="34" y="17"/>
                  </a:cubicBezTo>
                  <a:close/>
                  <a:moveTo>
                    <a:pt x="16" y="14"/>
                  </a:moveTo>
                  <a:cubicBezTo>
                    <a:pt x="11" y="16"/>
                    <a:pt x="4" y="19"/>
                    <a:pt x="0" y="22"/>
                  </a:cubicBezTo>
                  <a:cubicBezTo>
                    <a:pt x="0" y="44"/>
                    <a:pt x="30" y="61"/>
                    <a:pt x="30" y="61"/>
                  </a:cubicBezTo>
                  <a:cubicBezTo>
                    <a:pt x="30" y="61"/>
                    <a:pt x="10" y="28"/>
                    <a:pt x="16" y="14"/>
                  </a:cubicBezTo>
                  <a:close/>
                  <a:moveTo>
                    <a:pt x="125" y="115"/>
                  </a:moveTo>
                  <a:cubicBezTo>
                    <a:pt x="122" y="131"/>
                    <a:pt x="122" y="131"/>
                    <a:pt x="122" y="131"/>
                  </a:cubicBezTo>
                  <a:cubicBezTo>
                    <a:pt x="114" y="134"/>
                    <a:pt x="105" y="136"/>
                    <a:pt x="96" y="136"/>
                  </a:cubicBezTo>
                  <a:cubicBezTo>
                    <a:pt x="60" y="136"/>
                    <a:pt x="32" y="108"/>
                    <a:pt x="32" y="72"/>
                  </a:cubicBezTo>
                  <a:cubicBezTo>
                    <a:pt x="32" y="57"/>
                    <a:pt x="38" y="43"/>
                    <a:pt x="47" y="32"/>
                  </a:cubicBezTo>
                  <a:cubicBezTo>
                    <a:pt x="59" y="36"/>
                    <a:pt x="59" y="36"/>
                    <a:pt x="59" y="36"/>
                  </a:cubicBezTo>
                  <a:cubicBezTo>
                    <a:pt x="55" y="40"/>
                    <a:pt x="52" y="45"/>
                    <a:pt x="49" y="50"/>
                  </a:cubicBezTo>
                  <a:cubicBezTo>
                    <a:pt x="51" y="52"/>
                    <a:pt x="55" y="53"/>
                    <a:pt x="66" y="55"/>
                  </a:cubicBezTo>
                  <a:cubicBezTo>
                    <a:pt x="68" y="42"/>
                    <a:pt x="71" y="32"/>
                    <a:pt x="77" y="24"/>
                  </a:cubicBezTo>
                  <a:cubicBezTo>
                    <a:pt x="75" y="25"/>
                    <a:pt x="72" y="26"/>
                    <a:pt x="70" y="28"/>
                  </a:cubicBezTo>
                  <a:cubicBezTo>
                    <a:pt x="72" y="13"/>
                    <a:pt x="72" y="13"/>
                    <a:pt x="72" y="13"/>
                  </a:cubicBezTo>
                  <a:cubicBezTo>
                    <a:pt x="80" y="10"/>
                    <a:pt x="88" y="8"/>
                    <a:pt x="96" y="8"/>
                  </a:cubicBezTo>
                  <a:cubicBezTo>
                    <a:pt x="132" y="8"/>
                    <a:pt x="160" y="37"/>
                    <a:pt x="160" y="72"/>
                  </a:cubicBezTo>
                  <a:cubicBezTo>
                    <a:pt x="160" y="87"/>
                    <a:pt x="155" y="101"/>
                    <a:pt x="146" y="112"/>
                  </a:cubicBezTo>
                  <a:cubicBezTo>
                    <a:pt x="134" y="108"/>
                    <a:pt x="134" y="108"/>
                    <a:pt x="134" y="108"/>
                  </a:cubicBezTo>
                  <a:cubicBezTo>
                    <a:pt x="139" y="103"/>
                    <a:pt x="142" y="97"/>
                    <a:pt x="145" y="90"/>
                  </a:cubicBezTo>
                  <a:cubicBezTo>
                    <a:pt x="141" y="93"/>
                    <a:pt x="133" y="95"/>
                    <a:pt x="126" y="96"/>
                  </a:cubicBezTo>
                  <a:cubicBezTo>
                    <a:pt x="124" y="106"/>
                    <a:pt x="121" y="114"/>
                    <a:pt x="116" y="120"/>
                  </a:cubicBezTo>
                  <a:cubicBezTo>
                    <a:pt x="119" y="119"/>
                    <a:pt x="122" y="117"/>
                    <a:pt x="125" y="115"/>
                  </a:cubicBezTo>
                  <a:close/>
                  <a:moveTo>
                    <a:pt x="65" y="89"/>
                  </a:moveTo>
                  <a:cubicBezTo>
                    <a:pt x="65" y="84"/>
                    <a:pt x="64" y="78"/>
                    <a:pt x="64" y="73"/>
                  </a:cubicBezTo>
                  <a:cubicBezTo>
                    <a:pt x="64" y="69"/>
                    <a:pt x="64" y="66"/>
                    <a:pt x="65" y="62"/>
                  </a:cubicBezTo>
                  <a:cubicBezTo>
                    <a:pt x="57" y="61"/>
                    <a:pt x="50" y="59"/>
                    <a:pt x="46" y="57"/>
                  </a:cubicBezTo>
                  <a:cubicBezTo>
                    <a:pt x="45" y="62"/>
                    <a:pt x="44" y="67"/>
                    <a:pt x="44" y="72"/>
                  </a:cubicBezTo>
                  <a:cubicBezTo>
                    <a:pt x="44" y="81"/>
                    <a:pt x="45" y="85"/>
                    <a:pt x="65" y="89"/>
                  </a:cubicBezTo>
                  <a:close/>
                  <a:moveTo>
                    <a:pt x="76" y="120"/>
                  </a:moveTo>
                  <a:cubicBezTo>
                    <a:pt x="72" y="114"/>
                    <a:pt x="69" y="106"/>
                    <a:pt x="67" y="97"/>
                  </a:cubicBezTo>
                  <a:cubicBezTo>
                    <a:pt x="59" y="95"/>
                    <a:pt x="53" y="93"/>
                    <a:pt x="48" y="91"/>
                  </a:cubicBezTo>
                  <a:cubicBezTo>
                    <a:pt x="50" y="98"/>
                    <a:pt x="54" y="104"/>
                    <a:pt x="59" y="109"/>
                  </a:cubicBezTo>
                  <a:cubicBezTo>
                    <a:pt x="64" y="114"/>
                    <a:pt x="70" y="118"/>
                    <a:pt x="76" y="120"/>
                  </a:cubicBezTo>
                  <a:close/>
                  <a:moveTo>
                    <a:pt x="93" y="99"/>
                  </a:moveTo>
                  <a:cubicBezTo>
                    <a:pt x="86" y="99"/>
                    <a:pt x="80" y="98"/>
                    <a:pt x="74" y="98"/>
                  </a:cubicBezTo>
                  <a:cubicBezTo>
                    <a:pt x="77" y="107"/>
                    <a:pt x="82" y="124"/>
                    <a:pt x="93" y="124"/>
                  </a:cubicBezTo>
                  <a:cubicBezTo>
                    <a:pt x="93" y="124"/>
                    <a:pt x="93" y="124"/>
                    <a:pt x="93" y="99"/>
                  </a:cubicBezTo>
                  <a:close/>
                  <a:moveTo>
                    <a:pt x="93" y="64"/>
                  </a:moveTo>
                  <a:cubicBezTo>
                    <a:pt x="85" y="64"/>
                    <a:pt x="78" y="63"/>
                    <a:pt x="72" y="63"/>
                  </a:cubicBezTo>
                  <a:cubicBezTo>
                    <a:pt x="71" y="66"/>
                    <a:pt x="71" y="69"/>
                    <a:pt x="71" y="73"/>
                  </a:cubicBezTo>
                  <a:cubicBezTo>
                    <a:pt x="71" y="79"/>
                    <a:pt x="72" y="85"/>
                    <a:pt x="73" y="90"/>
                  </a:cubicBezTo>
                  <a:cubicBezTo>
                    <a:pt x="79" y="91"/>
                    <a:pt x="86" y="92"/>
                    <a:pt x="93" y="92"/>
                  </a:cubicBezTo>
                  <a:cubicBezTo>
                    <a:pt x="93" y="92"/>
                    <a:pt x="93" y="92"/>
                    <a:pt x="93" y="64"/>
                  </a:cubicBezTo>
                  <a:close/>
                  <a:moveTo>
                    <a:pt x="93" y="21"/>
                  </a:moveTo>
                  <a:cubicBezTo>
                    <a:pt x="91" y="21"/>
                    <a:pt x="89" y="22"/>
                    <a:pt x="87" y="23"/>
                  </a:cubicBezTo>
                  <a:cubicBezTo>
                    <a:pt x="81" y="29"/>
                    <a:pt x="75" y="42"/>
                    <a:pt x="72" y="56"/>
                  </a:cubicBezTo>
                  <a:cubicBezTo>
                    <a:pt x="79" y="57"/>
                    <a:pt x="86" y="57"/>
                    <a:pt x="93" y="57"/>
                  </a:cubicBezTo>
                  <a:cubicBezTo>
                    <a:pt x="93" y="57"/>
                    <a:pt x="93" y="57"/>
                    <a:pt x="93" y="21"/>
                  </a:cubicBezTo>
                  <a:close/>
                  <a:moveTo>
                    <a:pt x="146" y="57"/>
                  </a:moveTo>
                  <a:cubicBezTo>
                    <a:pt x="142" y="59"/>
                    <a:pt x="137" y="60"/>
                    <a:pt x="128" y="62"/>
                  </a:cubicBezTo>
                  <a:cubicBezTo>
                    <a:pt x="128" y="66"/>
                    <a:pt x="128" y="69"/>
                    <a:pt x="128" y="73"/>
                  </a:cubicBezTo>
                  <a:cubicBezTo>
                    <a:pt x="128" y="78"/>
                    <a:pt x="128" y="84"/>
                    <a:pt x="127" y="89"/>
                  </a:cubicBezTo>
                  <a:cubicBezTo>
                    <a:pt x="139" y="86"/>
                    <a:pt x="145" y="82"/>
                    <a:pt x="148" y="79"/>
                  </a:cubicBezTo>
                  <a:cubicBezTo>
                    <a:pt x="148" y="77"/>
                    <a:pt x="148" y="75"/>
                    <a:pt x="148" y="72"/>
                  </a:cubicBezTo>
                  <a:cubicBezTo>
                    <a:pt x="148" y="67"/>
                    <a:pt x="147" y="62"/>
                    <a:pt x="146" y="57"/>
                  </a:cubicBezTo>
                  <a:close/>
                  <a:moveTo>
                    <a:pt x="115" y="24"/>
                  </a:moveTo>
                  <a:cubicBezTo>
                    <a:pt x="121" y="32"/>
                    <a:pt x="125" y="42"/>
                    <a:pt x="127" y="55"/>
                  </a:cubicBezTo>
                  <a:cubicBezTo>
                    <a:pt x="138" y="52"/>
                    <a:pt x="141" y="52"/>
                    <a:pt x="143" y="50"/>
                  </a:cubicBezTo>
                  <a:cubicBezTo>
                    <a:pt x="141" y="45"/>
                    <a:pt x="137" y="40"/>
                    <a:pt x="133" y="36"/>
                  </a:cubicBezTo>
                  <a:cubicBezTo>
                    <a:pt x="128" y="30"/>
                    <a:pt x="122" y="27"/>
                    <a:pt x="115" y="24"/>
                  </a:cubicBezTo>
                  <a:close/>
                  <a:moveTo>
                    <a:pt x="100" y="57"/>
                  </a:moveTo>
                  <a:cubicBezTo>
                    <a:pt x="107" y="57"/>
                    <a:pt x="113" y="57"/>
                    <a:pt x="120" y="56"/>
                  </a:cubicBezTo>
                  <a:cubicBezTo>
                    <a:pt x="117" y="38"/>
                    <a:pt x="109" y="24"/>
                    <a:pt x="100" y="21"/>
                  </a:cubicBezTo>
                  <a:cubicBezTo>
                    <a:pt x="100" y="21"/>
                    <a:pt x="100" y="21"/>
                    <a:pt x="100" y="21"/>
                  </a:cubicBezTo>
                  <a:cubicBezTo>
                    <a:pt x="100" y="21"/>
                    <a:pt x="100" y="21"/>
                    <a:pt x="100" y="57"/>
                  </a:cubicBezTo>
                  <a:close/>
                  <a:moveTo>
                    <a:pt x="100" y="92"/>
                  </a:moveTo>
                  <a:cubicBezTo>
                    <a:pt x="107" y="92"/>
                    <a:pt x="113" y="91"/>
                    <a:pt x="120" y="90"/>
                  </a:cubicBezTo>
                  <a:cubicBezTo>
                    <a:pt x="121" y="85"/>
                    <a:pt x="121" y="79"/>
                    <a:pt x="121" y="73"/>
                  </a:cubicBezTo>
                  <a:cubicBezTo>
                    <a:pt x="121" y="69"/>
                    <a:pt x="121" y="66"/>
                    <a:pt x="121" y="63"/>
                  </a:cubicBezTo>
                  <a:cubicBezTo>
                    <a:pt x="114" y="63"/>
                    <a:pt x="107" y="64"/>
                    <a:pt x="100" y="64"/>
                  </a:cubicBezTo>
                  <a:cubicBezTo>
                    <a:pt x="100" y="64"/>
                    <a:pt x="100" y="64"/>
                    <a:pt x="100" y="92"/>
                  </a:cubicBezTo>
                  <a:close/>
                  <a:moveTo>
                    <a:pt x="113" y="111"/>
                  </a:moveTo>
                  <a:cubicBezTo>
                    <a:pt x="115" y="107"/>
                    <a:pt x="117" y="103"/>
                    <a:pt x="118" y="98"/>
                  </a:cubicBezTo>
                  <a:cubicBezTo>
                    <a:pt x="112" y="98"/>
                    <a:pt x="106" y="99"/>
                    <a:pt x="100" y="99"/>
                  </a:cubicBezTo>
                  <a:cubicBezTo>
                    <a:pt x="100" y="99"/>
                    <a:pt x="100" y="99"/>
                    <a:pt x="100" y="124"/>
                  </a:cubicBezTo>
                  <a:cubicBezTo>
                    <a:pt x="105" y="124"/>
                    <a:pt x="110" y="119"/>
                    <a:pt x="113" y="111"/>
                  </a:cubicBezTo>
                  <a:close/>
                  <a:moveTo>
                    <a:pt x="160" y="127"/>
                  </a:moveTo>
                  <a:cubicBezTo>
                    <a:pt x="171" y="123"/>
                    <a:pt x="171" y="123"/>
                    <a:pt x="171" y="123"/>
                  </a:cubicBezTo>
                  <a:cubicBezTo>
                    <a:pt x="130" y="110"/>
                    <a:pt x="130" y="110"/>
                    <a:pt x="130" y="110"/>
                  </a:cubicBezTo>
                  <a:cubicBezTo>
                    <a:pt x="124" y="139"/>
                    <a:pt x="124" y="139"/>
                    <a:pt x="124" y="139"/>
                  </a:cubicBezTo>
                  <a:cubicBezTo>
                    <a:pt x="137" y="135"/>
                    <a:pt x="137" y="135"/>
                    <a:pt x="137" y="135"/>
                  </a:cubicBezTo>
                  <a:cubicBezTo>
                    <a:pt x="140" y="138"/>
                    <a:pt x="148" y="144"/>
                    <a:pt x="155" y="143"/>
                  </a:cubicBezTo>
                  <a:cubicBezTo>
                    <a:pt x="159" y="142"/>
                    <a:pt x="172" y="136"/>
                    <a:pt x="178" y="133"/>
                  </a:cubicBezTo>
                  <a:cubicBezTo>
                    <a:pt x="172" y="135"/>
                    <a:pt x="164" y="129"/>
                    <a:pt x="160" y="127"/>
                  </a:cubicBezTo>
                  <a:close/>
                </a:path>
              </a:pathLst>
            </a:custGeom>
            <a:solidFill>
              <a:schemeClr val="accent2"/>
            </a:solidFill>
            <a:ln>
              <a:noFill/>
            </a:ln>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3" name="Group 106"/>
            <p:cNvGrpSpPr/>
            <p:nvPr/>
          </p:nvGrpSpPr>
          <p:grpSpPr>
            <a:xfrm>
              <a:off x="8329512" y="1174360"/>
              <a:ext cx="352519" cy="551474"/>
              <a:chOff x="10976442" y="320026"/>
              <a:chExt cx="352569" cy="551552"/>
            </a:xfrm>
          </p:grpSpPr>
          <p:grpSp>
            <p:nvGrpSpPr>
              <p:cNvPr id="79" name="Group 160"/>
              <p:cNvGrpSpPr/>
              <p:nvPr/>
            </p:nvGrpSpPr>
            <p:grpSpPr>
              <a:xfrm rot="5400000">
                <a:off x="10777119" y="519349"/>
                <a:ext cx="551552" cy="152905"/>
                <a:chOff x="10576225" y="1124579"/>
                <a:chExt cx="607702" cy="168471"/>
              </a:xfrm>
              <a:solidFill>
                <a:schemeClr val="accent6"/>
              </a:solidFill>
            </p:grpSpPr>
            <p:sp>
              <p:nvSpPr>
                <p:cNvPr id="83" name="Freeform 25"/>
                <p:cNvSpPr>
                  <a:spLocks noEditPoints="1"/>
                </p:cNvSpPr>
                <p:nvPr/>
              </p:nvSpPr>
              <p:spPr bwMode="auto">
                <a:xfrm rot="16200000">
                  <a:off x="10795840" y="904964"/>
                  <a:ext cx="168471" cy="607702"/>
                </a:xfrm>
                <a:custGeom>
                  <a:avLst/>
                  <a:gdLst>
                    <a:gd name="T0" fmla="*/ 467 w 555"/>
                    <a:gd name="T1" fmla="*/ 0 h 2002"/>
                    <a:gd name="T2" fmla="*/ 87 w 555"/>
                    <a:gd name="T3" fmla="*/ 0 h 2002"/>
                    <a:gd name="T4" fmla="*/ 0 w 555"/>
                    <a:gd name="T5" fmla="*/ 87 h 2002"/>
                    <a:gd name="T6" fmla="*/ 0 w 555"/>
                    <a:gd name="T7" fmla="*/ 1914 h 2002"/>
                    <a:gd name="T8" fmla="*/ 87 w 555"/>
                    <a:gd name="T9" fmla="*/ 2002 h 2002"/>
                    <a:gd name="T10" fmla="*/ 467 w 555"/>
                    <a:gd name="T11" fmla="*/ 2002 h 2002"/>
                    <a:gd name="T12" fmla="*/ 555 w 555"/>
                    <a:gd name="T13" fmla="*/ 1914 h 2002"/>
                    <a:gd name="T14" fmla="*/ 555 w 555"/>
                    <a:gd name="T15" fmla="*/ 87 h 2002"/>
                    <a:gd name="T16" fmla="*/ 467 w 555"/>
                    <a:gd name="T17" fmla="*/ 0 h 2002"/>
                    <a:gd name="T18" fmla="*/ 131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1 w 555"/>
                    <a:gd name="T33" fmla="*/ 1345 h 2002"/>
                    <a:gd name="T34" fmla="*/ 131 w 555"/>
                    <a:gd name="T35" fmla="*/ 182 h 2002"/>
                    <a:gd name="T36" fmla="*/ 277 w 555"/>
                    <a:gd name="T37" fmla="*/ 1884 h 2002"/>
                    <a:gd name="T38" fmla="*/ 131 w 555"/>
                    <a:gd name="T39" fmla="*/ 1739 h 2002"/>
                    <a:gd name="T40" fmla="*/ 277 w 555"/>
                    <a:gd name="T41" fmla="*/ 1592 h 2002"/>
                    <a:gd name="T42" fmla="*/ 424 w 555"/>
                    <a:gd name="T43" fmla="*/ 1739 h 2002"/>
                    <a:gd name="T44" fmla="*/ 277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7" y="0"/>
                      </a:moveTo>
                      <a:cubicBezTo>
                        <a:pt x="87" y="0"/>
                        <a:pt x="87" y="0"/>
                        <a:pt x="87" y="0"/>
                      </a:cubicBezTo>
                      <a:cubicBezTo>
                        <a:pt x="39" y="0"/>
                        <a:pt x="0" y="39"/>
                        <a:pt x="0" y="87"/>
                      </a:cubicBezTo>
                      <a:cubicBezTo>
                        <a:pt x="0" y="1914"/>
                        <a:pt x="0" y="1914"/>
                        <a:pt x="0" y="1914"/>
                      </a:cubicBezTo>
                      <a:cubicBezTo>
                        <a:pt x="0" y="1962"/>
                        <a:pt x="39" y="2002"/>
                        <a:pt x="87" y="2002"/>
                      </a:cubicBezTo>
                      <a:cubicBezTo>
                        <a:pt x="467" y="2002"/>
                        <a:pt x="467" y="2002"/>
                        <a:pt x="467" y="2002"/>
                      </a:cubicBezTo>
                      <a:cubicBezTo>
                        <a:pt x="516" y="2002"/>
                        <a:pt x="555" y="1962"/>
                        <a:pt x="555" y="1914"/>
                      </a:cubicBezTo>
                      <a:cubicBezTo>
                        <a:pt x="555" y="87"/>
                        <a:pt x="555" y="87"/>
                        <a:pt x="555" y="87"/>
                      </a:cubicBezTo>
                      <a:cubicBezTo>
                        <a:pt x="555" y="39"/>
                        <a:pt x="516" y="0"/>
                        <a:pt x="467" y="0"/>
                      </a:cubicBezTo>
                      <a:close/>
                      <a:moveTo>
                        <a:pt x="131" y="182"/>
                      </a:moveTo>
                      <a:cubicBezTo>
                        <a:pt x="131"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1" y="1372"/>
                        <a:pt x="131" y="1345"/>
                      </a:cubicBezTo>
                      <a:lnTo>
                        <a:pt x="131" y="182"/>
                      </a:lnTo>
                      <a:close/>
                      <a:moveTo>
                        <a:pt x="277" y="1884"/>
                      </a:moveTo>
                      <a:cubicBezTo>
                        <a:pt x="197" y="1884"/>
                        <a:pt x="131" y="1819"/>
                        <a:pt x="131" y="1739"/>
                      </a:cubicBezTo>
                      <a:cubicBezTo>
                        <a:pt x="131" y="1658"/>
                        <a:pt x="197" y="1592"/>
                        <a:pt x="277" y="1592"/>
                      </a:cubicBezTo>
                      <a:cubicBezTo>
                        <a:pt x="358" y="1592"/>
                        <a:pt x="424" y="1658"/>
                        <a:pt x="424" y="1739"/>
                      </a:cubicBezTo>
                      <a:cubicBezTo>
                        <a:pt x="424" y="1819"/>
                        <a:pt x="358" y="1884"/>
                        <a:pt x="277" y="1884"/>
                      </a:cubicBezTo>
                      <a:close/>
                    </a:path>
                  </a:pathLst>
                </a:custGeom>
                <a:solidFill>
                  <a:schemeClr val="accent3"/>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sp>
              <p:nvSpPr>
                <p:cNvPr id="84" name="Oval 46"/>
                <p:cNvSpPr>
                  <a:spLocks noChangeArrowheads="1"/>
                </p:cNvSpPr>
                <p:nvPr/>
              </p:nvSpPr>
              <p:spPr bwMode="auto">
                <a:xfrm rot="16200000">
                  <a:off x="11080094" y="1184977"/>
                  <a:ext cx="47676" cy="47676"/>
                </a:xfrm>
                <a:prstGeom prst="ellipse">
                  <a:avLst/>
                </a:prstGeom>
                <a:solidFill>
                  <a:schemeClr val="accent3"/>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grpSp>
          <p:grpSp>
            <p:nvGrpSpPr>
              <p:cNvPr id="80" name="Group 161"/>
              <p:cNvGrpSpPr/>
              <p:nvPr/>
            </p:nvGrpSpPr>
            <p:grpSpPr>
              <a:xfrm rot="5400000">
                <a:off x="10976783" y="519349"/>
                <a:ext cx="551552" cy="152905"/>
                <a:chOff x="10576225" y="901588"/>
                <a:chExt cx="607702" cy="168471"/>
              </a:xfrm>
              <a:solidFill>
                <a:schemeClr val="accent4"/>
              </a:solidFill>
            </p:grpSpPr>
            <p:sp>
              <p:nvSpPr>
                <p:cNvPr id="81" name="Freeform 47"/>
                <p:cNvSpPr>
                  <a:spLocks noEditPoints="1"/>
                </p:cNvSpPr>
                <p:nvPr/>
              </p:nvSpPr>
              <p:spPr bwMode="auto">
                <a:xfrm rot="16200000">
                  <a:off x="10795840" y="681973"/>
                  <a:ext cx="168471" cy="607702"/>
                </a:xfrm>
                <a:custGeom>
                  <a:avLst/>
                  <a:gdLst>
                    <a:gd name="T0" fmla="*/ 468 w 555"/>
                    <a:gd name="T1" fmla="*/ 0 h 2002"/>
                    <a:gd name="T2" fmla="*/ 88 w 555"/>
                    <a:gd name="T3" fmla="*/ 0 h 2002"/>
                    <a:gd name="T4" fmla="*/ 0 w 555"/>
                    <a:gd name="T5" fmla="*/ 87 h 2002"/>
                    <a:gd name="T6" fmla="*/ 0 w 555"/>
                    <a:gd name="T7" fmla="*/ 1914 h 2002"/>
                    <a:gd name="T8" fmla="*/ 88 w 555"/>
                    <a:gd name="T9" fmla="*/ 2002 h 2002"/>
                    <a:gd name="T10" fmla="*/ 468 w 555"/>
                    <a:gd name="T11" fmla="*/ 2002 h 2002"/>
                    <a:gd name="T12" fmla="*/ 555 w 555"/>
                    <a:gd name="T13" fmla="*/ 1914 h 2002"/>
                    <a:gd name="T14" fmla="*/ 555 w 555"/>
                    <a:gd name="T15" fmla="*/ 87 h 2002"/>
                    <a:gd name="T16" fmla="*/ 468 w 555"/>
                    <a:gd name="T17" fmla="*/ 0 h 2002"/>
                    <a:gd name="T18" fmla="*/ 132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2 w 555"/>
                    <a:gd name="T33" fmla="*/ 1345 h 2002"/>
                    <a:gd name="T34" fmla="*/ 132 w 555"/>
                    <a:gd name="T35" fmla="*/ 182 h 2002"/>
                    <a:gd name="T36" fmla="*/ 278 w 555"/>
                    <a:gd name="T37" fmla="*/ 1884 h 2002"/>
                    <a:gd name="T38" fmla="*/ 132 w 555"/>
                    <a:gd name="T39" fmla="*/ 1739 h 2002"/>
                    <a:gd name="T40" fmla="*/ 278 w 555"/>
                    <a:gd name="T41" fmla="*/ 1592 h 2002"/>
                    <a:gd name="T42" fmla="*/ 424 w 555"/>
                    <a:gd name="T43" fmla="*/ 1739 h 2002"/>
                    <a:gd name="T44" fmla="*/ 278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8" y="0"/>
                      </a:moveTo>
                      <a:cubicBezTo>
                        <a:pt x="88" y="0"/>
                        <a:pt x="88" y="0"/>
                        <a:pt x="88" y="0"/>
                      </a:cubicBezTo>
                      <a:cubicBezTo>
                        <a:pt x="40" y="0"/>
                        <a:pt x="0" y="39"/>
                        <a:pt x="0" y="87"/>
                      </a:cubicBezTo>
                      <a:cubicBezTo>
                        <a:pt x="0" y="1914"/>
                        <a:pt x="0" y="1914"/>
                        <a:pt x="0" y="1914"/>
                      </a:cubicBezTo>
                      <a:cubicBezTo>
                        <a:pt x="0" y="1962"/>
                        <a:pt x="40" y="2002"/>
                        <a:pt x="88" y="2002"/>
                      </a:cubicBezTo>
                      <a:cubicBezTo>
                        <a:pt x="468" y="2002"/>
                        <a:pt x="468" y="2002"/>
                        <a:pt x="468" y="2002"/>
                      </a:cubicBezTo>
                      <a:cubicBezTo>
                        <a:pt x="516" y="2002"/>
                        <a:pt x="555" y="1962"/>
                        <a:pt x="555" y="1914"/>
                      </a:cubicBezTo>
                      <a:cubicBezTo>
                        <a:pt x="555" y="87"/>
                        <a:pt x="555" y="87"/>
                        <a:pt x="555" y="87"/>
                      </a:cubicBezTo>
                      <a:cubicBezTo>
                        <a:pt x="555" y="39"/>
                        <a:pt x="516" y="0"/>
                        <a:pt x="468" y="0"/>
                      </a:cubicBezTo>
                      <a:close/>
                      <a:moveTo>
                        <a:pt x="132" y="182"/>
                      </a:moveTo>
                      <a:cubicBezTo>
                        <a:pt x="132"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2" y="1372"/>
                        <a:pt x="132" y="1345"/>
                      </a:cubicBezTo>
                      <a:lnTo>
                        <a:pt x="132" y="182"/>
                      </a:lnTo>
                      <a:close/>
                      <a:moveTo>
                        <a:pt x="278" y="1884"/>
                      </a:moveTo>
                      <a:cubicBezTo>
                        <a:pt x="197" y="1884"/>
                        <a:pt x="132" y="1819"/>
                        <a:pt x="132" y="1739"/>
                      </a:cubicBezTo>
                      <a:cubicBezTo>
                        <a:pt x="132" y="1658"/>
                        <a:pt x="197" y="1592"/>
                        <a:pt x="278" y="1592"/>
                      </a:cubicBezTo>
                      <a:cubicBezTo>
                        <a:pt x="358" y="1592"/>
                        <a:pt x="424" y="1658"/>
                        <a:pt x="424" y="1739"/>
                      </a:cubicBezTo>
                      <a:cubicBezTo>
                        <a:pt x="424" y="1819"/>
                        <a:pt x="358" y="1884"/>
                        <a:pt x="278" y="1884"/>
                      </a:cubicBezTo>
                      <a:close/>
                    </a:path>
                  </a:pathLst>
                </a:custGeom>
                <a:solidFill>
                  <a:schemeClr val="accent1"/>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sp>
              <p:nvSpPr>
                <p:cNvPr id="82" name="Oval 50"/>
                <p:cNvSpPr>
                  <a:spLocks noChangeArrowheads="1"/>
                </p:cNvSpPr>
                <p:nvPr/>
              </p:nvSpPr>
              <p:spPr bwMode="auto">
                <a:xfrm rot="16200000">
                  <a:off x="11080094" y="961987"/>
                  <a:ext cx="47676" cy="47676"/>
                </a:xfrm>
                <a:prstGeom prst="ellipse">
                  <a:avLst/>
                </a:prstGeom>
                <a:solidFill>
                  <a:schemeClr val="accent1"/>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grpSp>
        </p:grpSp>
        <p:sp>
          <p:nvSpPr>
            <p:cNvPr id="34" name="Freeform 12"/>
            <p:cNvSpPr>
              <a:spLocks/>
            </p:cNvSpPr>
            <p:nvPr/>
          </p:nvSpPr>
          <p:spPr bwMode="auto">
            <a:xfrm>
              <a:off x="11891168" y="4993994"/>
              <a:ext cx="504028" cy="270463"/>
            </a:xfrm>
            <a:custGeom>
              <a:avLst/>
              <a:gdLst>
                <a:gd name="T0" fmla="*/ 373 w 509"/>
                <a:gd name="T1" fmla="*/ 272 h 273"/>
                <a:gd name="T2" fmla="*/ 509 w 509"/>
                <a:gd name="T3" fmla="*/ 136 h 273"/>
                <a:gd name="T4" fmla="*/ 373 w 509"/>
                <a:gd name="T5" fmla="*/ 0 h 273"/>
                <a:gd name="T6" fmla="*/ 256 w 509"/>
                <a:gd name="T7" fmla="*/ 66 h 273"/>
                <a:gd name="T8" fmla="*/ 209 w 509"/>
                <a:gd name="T9" fmla="*/ 55 h 273"/>
                <a:gd name="T10" fmla="*/ 112 w 509"/>
                <a:gd name="T11" fmla="*/ 114 h 273"/>
                <a:gd name="T12" fmla="*/ 83 w 509"/>
                <a:gd name="T13" fmla="*/ 108 h 273"/>
                <a:gd name="T14" fmla="*/ 0 w 509"/>
                <a:gd name="T15" fmla="*/ 191 h 273"/>
                <a:gd name="T16" fmla="*/ 83 w 509"/>
                <a:gd name="T17" fmla="*/ 273 h 273"/>
                <a:gd name="T18" fmla="*/ 373 w 509"/>
                <a:gd name="T19"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73">
                  <a:moveTo>
                    <a:pt x="373" y="272"/>
                  </a:moveTo>
                  <a:cubicBezTo>
                    <a:pt x="448" y="272"/>
                    <a:pt x="509" y="211"/>
                    <a:pt x="509" y="136"/>
                  </a:cubicBezTo>
                  <a:cubicBezTo>
                    <a:pt x="509" y="61"/>
                    <a:pt x="448" y="0"/>
                    <a:pt x="373" y="0"/>
                  </a:cubicBezTo>
                  <a:cubicBezTo>
                    <a:pt x="324" y="0"/>
                    <a:pt x="280" y="26"/>
                    <a:pt x="256" y="66"/>
                  </a:cubicBezTo>
                  <a:cubicBezTo>
                    <a:pt x="242" y="59"/>
                    <a:pt x="226" y="55"/>
                    <a:pt x="209" y="55"/>
                  </a:cubicBezTo>
                  <a:cubicBezTo>
                    <a:pt x="167" y="55"/>
                    <a:pt x="131" y="79"/>
                    <a:pt x="112" y="114"/>
                  </a:cubicBezTo>
                  <a:cubicBezTo>
                    <a:pt x="103" y="110"/>
                    <a:pt x="93" y="108"/>
                    <a:pt x="83" y="108"/>
                  </a:cubicBezTo>
                  <a:cubicBezTo>
                    <a:pt x="37" y="108"/>
                    <a:pt x="0" y="145"/>
                    <a:pt x="0" y="191"/>
                  </a:cubicBezTo>
                  <a:cubicBezTo>
                    <a:pt x="0" y="236"/>
                    <a:pt x="37" y="273"/>
                    <a:pt x="83" y="273"/>
                  </a:cubicBezTo>
                  <a:lnTo>
                    <a:pt x="373" y="272"/>
                  </a:ln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0336" rIns="80672" bIns="40336" numCol="1" rtlCol="0" anchor="ctr" anchorCtr="0" compatLnSpc="1">
              <a:prstTxWarp prst="textNoShape">
                <a:avLst/>
              </a:prstTxWarp>
            </a:bodyPr>
            <a:lstStyle/>
            <a:p>
              <a:pPr marL="0" marR="0" lvl="0" indent="0" algn="ctr" defTabSz="725589" rtl="0" eaLnBrk="1" fontAlgn="auto" latinLnBrk="1" hangingPunct="1">
                <a:lnSpc>
                  <a:spcPct val="100000"/>
                </a:lnSpc>
                <a:spcBef>
                  <a:spcPts val="0"/>
                </a:spcBef>
                <a:spcAft>
                  <a:spcPts val="0"/>
                </a:spcAft>
                <a:buClrTx/>
                <a:buSzTx/>
                <a:buFontTx/>
                <a:buNone/>
                <a:tabLst/>
                <a:defRPr/>
              </a:pPr>
              <a:endParaRPr kumimoji="0" lang="en-US" sz="1667" b="0" i="0" u="none" strike="noStrike" kern="1200" cap="none" spc="-120" normalizeH="0" baseline="0" noProof="0" dirty="0">
                <a:ln>
                  <a:noFill/>
                </a:ln>
                <a:solidFill>
                  <a:srgbClr val="FFFFFF"/>
                </a:solidFill>
                <a:effectLst/>
                <a:uLnTx/>
                <a:uFillTx/>
                <a:latin typeface="Segoe UI Light" panose="020B0502040204020203" pitchFamily="34" charset="0"/>
                <a:ea typeface="+mn-ea"/>
                <a:cs typeface="+mn-cs"/>
                <a:sym typeface="Segoe UI Light" panose="020B0502040204020203" pitchFamily="34" charset="0"/>
              </a:endParaRPr>
            </a:p>
          </p:txBody>
        </p:sp>
        <p:sp>
          <p:nvSpPr>
            <p:cNvPr id="35" name="Freeform 134"/>
            <p:cNvSpPr>
              <a:spLocks noEditPoints="1"/>
            </p:cNvSpPr>
            <p:nvPr/>
          </p:nvSpPr>
          <p:spPr bwMode="black">
            <a:xfrm>
              <a:off x="9860440" y="3246933"/>
              <a:ext cx="657139" cy="301187"/>
            </a:xfrm>
            <a:custGeom>
              <a:avLst/>
              <a:gdLst>
                <a:gd name="T0" fmla="*/ 77 w 102"/>
                <a:gd name="T1" fmla="*/ 47 h 47"/>
                <a:gd name="T2" fmla="*/ 72 w 102"/>
                <a:gd name="T3" fmla="*/ 47 h 47"/>
                <a:gd name="T4" fmla="*/ 56 w 102"/>
                <a:gd name="T5" fmla="*/ 31 h 47"/>
                <a:gd name="T6" fmla="*/ 55 w 102"/>
                <a:gd name="T7" fmla="*/ 31 h 47"/>
                <a:gd name="T8" fmla="*/ 52 w 102"/>
                <a:gd name="T9" fmla="*/ 25 h 47"/>
                <a:gd name="T10" fmla="*/ 56 w 102"/>
                <a:gd name="T11" fmla="*/ 25 h 47"/>
                <a:gd name="T12" fmla="*/ 77 w 102"/>
                <a:gd name="T13" fmla="*/ 47 h 47"/>
                <a:gd name="T14" fmla="*/ 56 w 102"/>
                <a:gd name="T15" fmla="*/ 0 h 47"/>
                <a:gd name="T16" fmla="*/ 23 w 102"/>
                <a:gd name="T17" fmla="*/ 13 h 47"/>
                <a:gd name="T18" fmla="*/ 28 w 102"/>
                <a:gd name="T19" fmla="*/ 12 h 47"/>
                <a:gd name="T20" fmla="*/ 32 w 102"/>
                <a:gd name="T21" fmla="*/ 13 h 47"/>
                <a:gd name="T22" fmla="*/ 56 w 102"/>
                <a:gd name="T23" fmla="*/ 6 h 47"/>
                <a:gd name="T24" fmla="*/ 97 w 102"/>
                <a:gd name="T25" fmla="*/ 47 h 47"/>
                <a:gd name="T26" fmla="*/ 102 w 102"/>
                <a:gd name="T27" fmla="*/ 47 h 47"/>
                <a:gd name="T28" fmla="*/ 56 w 102"/>
                <a:gd name="T29" fmla="*/ 0 h 47"/>
                <a:gd name="T30" fmla="*/ 56 w 102"/>
                <a:gd name="T31" fmla="*/ 13 h 47"/>
                <a:gd name="T32" fmla="*/ 38 w 102"/>
                <a:gd name="T33" fmla="*/ 17 h 47"/>
                <a:gd name="T34" fmla="*/ 39 w 102"/>
                <a:gd name="T35" fmla="*/ 19 h 47"/>
                <a:gd name="T36" fmla="*/ 39 w 102"/>
                <a:gd name="T37" fmla="*/ 19 h 47"/>
                <a:gd name="T38" fmla="*/ 46 w 102"/>
                <a:gd name="T39" fmla="*/ 20 h 47"/>
                <a:gd name="T40" fmla="*/ 56 w 102"/>
                <a:gd name="T41" fmla="*/ 18 h 47"/>
                <a:gd name="T42" fmla="*/ 84 w 102"/>
                <a:gd name="T43" fmla="*/ 47 h 47"/>
                <a:gd name="T44" fmla="*/ 90 w 102"/>
                <a:gd name="T45" fmla="*/ 47 h 47"/>
                <a:gd name="T46" fmla="*/ 56 w 102"/>
                <a:gd name="T47" fmla="*/ 13 h 47"/>
                <a:gd name="T48" fmla="*/ 0 w 102"/>
                <a:gd name="T49" fmla="*/ 39 h 47"/>
                <a:gd name="T50" fmla="*/ 8 w 102"/>
                <a:gd name="T51" fmla="*/ 46 h 47"/>
                <a:gd name="T52" fmla="*/ 9 w 102"/>
                <a:gd name="T53" fmla="*/ 46 h 47"/>
                <a:gd name="T54" fmla="*/ 41 w 102"/>
                <a:gd name="T55" fmla="*/ 46 h 47"/>
                <a:gd name="T56" fmla="*/ 51 w 102"/>
                <a:gd name="T57" fmla="*/ 35 h 47"/>
                <a:gd name="T58" fmla="*/ 39 w 102"/>
                <a:gd name="T59" fmla="*/ 24 h 47"/>
                <a:gd name="T60" fmla="*/ 36 w 102"/>
                <a:gd name="T61" fmla="*/ 24 h 47"/>
                <a:gd name="T62" fmla="*/ 28 w 102"/>
                <a:gd name="T63" fmla="*/ 17 h 47"/>
                <a:gd name="T64" fmla="*/ 18 w 102"/>
                <a:gd name="T65" fmla="*/ 26 h 47"/>
                <a:gd name="T66" fmla="*/ 18 w 102"/>
                <a:gd name="T67" fmla="*/ 28 h 47"/>
                <a:gd name="T68" fmla="*/ 15 w 102"/>
                <a:gd name="T69" fmla="*/ 27 h 47"/>
                <a:gd name="T70" fmla="*/ 9 w 102"/>
                <a:gd name="T71" fmla="*/ 31 h 47"/>
                <a:gd name="T72" fmla="*/ 8 w 102"/>
                <a:gd name="T73" fmla="*/ 31 h 47"/>
                <a:gd name="T74" fmla="*/ 0 w 102"/>
                <a:gd name="T75"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47">
                  <a:moveTo>
                    <a:pt x="77" y="47"/>
                  </a:moveTo>
                  <a:cubicBezTo>
                    <a:pt x="72" y="47"/>
                    <a:pt x="72" y="47"/>
                    <a:pt x="72" y="47"/>
                  </a:cubicBezTo>
                  <a:cubicBezTo>
                    <a:pt x="72" y="38"/>
                    <a:pt x="64" y="31"/>
                    <a:pt x="56" y="31"/>
                  </a:cubicBezTo>
                  <a:cubicBezTo>
                    <a:pt x="55" y="31"/>
                    <a:pt x="55" y="31"/>
                    <a:pt x="55" y="31"/>
                  </a:cubicBezTo>
                  <a:cubicBezTo>
                    <a:pt x="54" y="29"/>
                    <a:pt x="53" y="27"/>
                    <a:pt x="52" y="25"/>
                  </a:cubicBezTo>
                  <a:cubicBezTo>
                    <a:pt x="53" y="25"/>
                    <a:pt x="54" y="25"/>
                    <a:pt x="56" y="25"/>
                  </a:cubicBezTo>
                  <a:cubicBezTo>
                    <a:pt x="68" y="25"/>
                    <a:pt x="77" y="35"/>
                    <a:pt x="77" y="47"/>
                  </a:cubicBezTo>
                  <a:close/>
                  <a:moveTo>
                    <a:pt x="56" y="0"/>
                  </a:moveTo>
                  <a:cubicBezTo>
                    <a:pt x="43" y="0"/>
                    <a:pt x="32" y="5"/>
                    <a:pt x="23" y="13"/>
                  </a:cubicBezTo>
                  <a:cubicBezTo>
                    <a:pt x="25" y="13"/>
                    <a:pt x="26" y="12"/>
                    <a:pt x="28" y="12"/>
                  </a:cubicBezTo>
                  <a:cubicBezTo>
                    <a:pt x="29" y="12"/>
                    <a:pt x="31" y="13"/>
                    <a:pt x="32" y="13"/>
                  </a:cubicBezTo>
                  <a:cubicBezTo>
                    <a:pt x="39" y="9"/>
                    <a:pt x="47" y="6"/>
                    <a:pt x="56" y="6"/>
                  </a:cubicBezTo>
                  <a:cubicBezTo>
                    <a:pt x="78" y="6"/>
                    <a:pt x="97" y="24"/>
                    <a:pt x="97" y="47"/>
                  </a:cubicBezTo>
                  <a:cubicBezTo>
                    <a:pt x="102" y="47"/>
                    <a:pt x="102" y="47"/>
                    <a:pt x="102" y="47"/>
                  </a:cubicBezTo>
                  <a:cubicBezTo>
                    <a:pt x="102" y="21"/>
                    <a:pt x="81" y="0"/>
                    <a:pt x="56" y="0"/>
                  </a:cubicBezTo>
                  <a:close/>
                  <a:moveTo>
                    <a:pt x="56" y="13"/>
                  </a:moveTo>
                  <a:cubicBezTo>
                    <a:pt x="49" y="13"/>
                    <a:pt x="43" y="14"/>
                    <a:pt x="38" y="17"/>
                  </a:cubicBezTo>
                  <a:cubicBezTo>
                    <a:pt x="39" y="18"/>
                    <a:pt x="39" y="18"/>
                    <a:pt x="39" y="19"/>
                  </a:cubicBezTo>
                  <a:cubicBezTo>
                    <a:pt x="39" y="19"/>
                    <a:pt x="39" y="19"/>
                    <a:pt x="39" y="19"/>
                  </a:cubicBezTo>
                  <a:cubicBezTo>
                    <a:pt x="42" y="19"/>
                    <a:pt x="44" y="19"/>
                    <a:pt x="46" y="20"/>
                  </a:cubicBezTo>
                  <a:cubicBezTo>
                    <a:pt x="49" y="19"/>
                    <a:pt x="52" y="18"/>
                    <a:pt x="56" y="18"/>
                  </a:cubicBezTo>
                  <a:cubicBezTo>
                    <a:pt x="71" y="18"/>
                    <a:pt x="84" y="31"/>
                    <a:pt x="84" y="47"/>
                  </a:cubicBezTo>
                  <a:cubicBezTo>
                    <a:pt x="90" y="47"/>
                    <a:pt x="90" y="47"/>
                    <a:pt x="90" y="47"/>
                  </a:cubicBezTo>
                  <a:cubicBezTo>
                    <a:pt x="90" y="28"/>
                    <a:pt x="75" y="13"/>
                    <a:pt x="56" y="13"/>
                  </a:cubicBezTo>
                  <a:close/>
                  <a:moveTo>
                    <a:pt x="0" y="39"/>
                  </a:moveTo>
                  <a:cubicBezTo>
                    <a:pt x="0" y="43"/>
                    <a:pt x="3" y="46"/>
                    <a:pt x="8" y="46"/>
                  </a:cubicBezTo>
                  <a:cubicBezTo>
                    <a:pt x="9" y="46"/>
                    <a:pt x="9" y="46"/>
                    <a:pt x="9" y="46"/>
                  </a:cubicBezTo>
                  <a:cubicBezTo>
                    <a:pt x="41" y="46"/>
                    <a:pt x="41" y="46"/>
                    <a:pt x="41" y="46"/>
                  </a:cubicBezTo>
                  <a:cubicBezTo>
                    <a:pt x="46" y="46"/>
                    <a:pt x="51" y="41"/>
                    <a:pt x="51" y="35"/>
                  </a:cubicBezTo>
                  <a:cubicBezTo>
                    <a:pt x="51" y="29"/>
                    <a:pt x="46" y="24"/>
                    <a:pt x="39" y="24"/>
                  </a:cubicBezTo>
                  <a:cubicBezTo>
                    <a:pt x="38" y="24"/>
                    <a:pt x="37" y="24"/>
                    <a:pt x="36" y="24"/>
                  </a:cubicBezTo>
                  <a:cubicBezTo>
                    <a:pt x="35" y="20"/>
                    <a:pt x="32" y="17"/>
                    <a:pt x="28" y="17"/>
                  </a:cubicBezTo>
                  <a:cubicBezTo>
                    <a:pt x="22" y="17"/>
                    <a:pt x="18" y="21"/>
                    <a:pt x="18" y="26"/>
                  </a:cubicBezTo>
                  <a:cubicBezTo>
                    <a:pt x="18" y="27"/>
                    <a:pt x="18" y="27"/>
                    <a:pt x="18" y="28"/>
                  </a:cubicBezTo>
                  <a:cubicBezTo>
                    <a:pt x="17" y="27"/>
                    <a:pt x="16" y="27"/>
                    <a:pt x="15" y="27"/>
                  </a:cubicBezTo>
                  <a:cubicBezTo>
                    <a:pt x="13" y="27"/>
                    <a:pt x="10" y="29"/>
                    <a:pt x="9" y="31"/>
                  </a:cubicBezTo>
                  <a:cubicBezTo>
                    <a:pt x="9" y="31"/>
                    <a:pt x="8" y="31"/>
                    <a:pt x="8" y="31"/>
                  </a:cubicBezTo>
                  <a:cubicBezTo>
                    <a:pt x="3" y="31"/>
                    <a:pt x="0" y="34"/>
                    <a:pt x="0" y="39"/>
                  </a:cubicBezTo>
                  <a:close/>
                </a:path>
              </a:pathLst>
            </a:custGeom>
            <a:solidFill>
              <a:srgbClr val="00BCF2"/>
            </a:solidFill>
            <a:ln>
              <a:noFill/>
            </a:ln>
            <a:extLst/>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534"/>
            <p:cNvSpPr>
              <a:spLocks noEditPoints="1"/>
            </p:cNvSpPr>
            <p:nvPr/>
          </p:nvSpPr>
          <p:spPr bwMode="auto">
            <a:xfrm>
              <a:off x="9111363" y="1045267"/>
              <a:ext cx="743114" cy="737989"/>
            </a:xfrm>
            <a:custGeom>
              <a:avLst/>
              <a:gdLst>
                <a:gd name="T0" fmla="*/ 143 w 290"/>
                <a:gd name="T1" fmla="*/ 130 h 289"/>
                <a:gd name="T2" fmla="*/ 152 w 290"/>
                <a:gd name="T3" fmla="*/ 80 h 289"/>
                <a:gd name="T4" fmla="*/ 152 w 290"/>
                <a:gd name="T5" fmla="*/ 82 h 289"/>
                <a:gd name="T6" fmla="*/ 191 w 290"/>
                <a:gd name="T7" fmla="*/ 62 h 289"/>
                <a:gd name="T8" fmla="*/ 205 w 290"/>
                <a:gd name="T9" fmla="*/ 116 h 289"/>
                <a:gd name="T10" fmla="*/ 162 w 290"/>
                <a:gd name="T11" fmla="*/ 80 h 289"/>
                <a:gd name="T12" fmla="*/ 152 w 290"/>
                <a:gd name="T13" fmla="*/ 80 h 289"/>
                <a:gd name="T14" fmla="*/ 168 w 290"/>
                <a:gd name="T15" fmla="*/ 80 h 289"/>
                <a:gd name="T16" fmla="*/ 180 w 290"/>
                <a:gd name="T17" fmla="*/ 89 h 289"/>
                <a:gd name="T18" fmla="*/ 183 w 290"/>
                <a:gd name="T19" fmla="*/ 85 h 289"/>
                <a:gd name="T20" fmla="*/ 181 w 290"/>
                <a:gd name="T21" fmla="*/ 87 h 289"/>
                <a:gd name="T22" fmla="*/ 166 w 290"/>
                <a:gd name="T23" fmla="*/ 84 h 289"/>
                <a:gd name="T24" fmla="*/ 183 w 290"/>
                <a:gd name="T25" fmla="*/ 85 h 289"/>
                <a:gd name="T26" fmla="*/ 181 w 290"/>
                <a:gd name="T27" fmla="*/ 87 h 289"/>
                <a:gd name="T28" fmla="*/ 85 w 290"/>
                <a:gd name="T29" fmla="*/ 169 h 289"/>
                <a:gd name="T30" fmla="*/ 137 w 290"/>
                <a:gd name="T31" fmla="*/ 155 h 289"/>
                <a:gd name="T32" fmla="*/ 98 w 290"/>
                <a:gd name="T33" fmla="*/ 130 h 289"/>
                <a:gd name="T34" fmla="*/ 50 w 290"/>
                <a:gd name="T35" fmla="*/ 145 h 289"/>
                <a:gd name="T36" fmla="*/ 83 w 290"/>
                <a:gd name="T37" fmla="*/ 169 h 289"/>
                <a:gd name="T38" fmla="*/ 85 w 290"/>
                <a:gd name="T39" fmla="*/ 169 h 289"/>
                <a:gd name="T40" fmla="*/ 85 w 290"/>
                <a:gd name="T41" fmla="*/ 169 h 289"/>
                <a:gd name="T42" fmla="*/ 75 w 290"/>
                <a:gd name="T43" fmla="*/ 140 h 289"/>
                <a:gd name="T44" fmla="*/ 77 w 290"/>
                <a:gd name="T45" fmla="*/ 155 h 289"/>
                <a:gd name="T46" fmla="*/ 77 w 290"/>
                <a:gd name="T47" fmla="*/ 142 h 289"/>
                <a:gd name="T48" fmla="*/ 79 w 290"/>
                <a:gd name="T49" fmla="*/ 140 h 289"/>
                <a:gd name="T50" fmla="*/ 75 w 290"/>
                <a:gd name="T51" fmla="*/ 140 h 289"/>
                <a:gd name="T52" fmla="*/ 77 w 290"/>
                <a:gd name="T53" fmla="*/ 142 h 289"/>
                <a:gd name="T54" fmla="*/ 156 w 290"/>
                <a:gd name="T55" fmla="*/ 149 h 289"/>
                <a:gd name="T56" fmla="*/ 195 w 290"/>
                <a:gd name="T57" fmla="*/ 184 h 289"/>
                <a:gd name="T58" fmla="*/ 156 w 290"/>
                <a:gd name="T59" fmla="*/ 149 h 289"/>
                <a:gd name="T60" fmla="*/ 197 w 290"/>
                <a:gd name="T61" fmla="*/ 184 h 289"/>
                <a:gd name="T62" fmla="*/ 154 w 290"/>
                <a:gd name="T63" fmla="*/ 190 h 289"/>
                <a:gd name="T64" fmla="*/ 191 w 290"/>
                <a:gd name="T65" fmla="*/ 225 h 289"/>
                <a:gd name="T66" fmla="*/ 195 w 290"/>
                <a:gd name="T67" fmla="*/ 182 h 289"/>
                <a:gd name="T68" fmla="*/ 195 w 290"/>
                <a:gd name="T69" fmla="*/ 182 h 289"/>
                <a:gd name="T70" fmla="*/ 174 w 290"/>
                <a:gd name="T71" fmla="*/ 207 h 289"/>
                <a:gd name="T72" fmla="*/ 174 w 290"/>
                <a:gd name="T73" fmla="*/ 203 h 289"/>
                <a:gd name="T74" fmla="*/ 178 w 290"/>
                <a:gd name="T75" fmla="*/ 207 h 289"/>
                <a:gd name="T76" fmla="*/ 178 w 290"/>
                <a:gd name="T77" fmla="*/ 207 h 289"/>
                <a:gd name="T78" fmla="*/ 176 w 290"/>
                <a:gd name="T79" fmla="*/ 203 h 289"/>
                <a:gd name="T80" fmla="*/ 174 w 290"/>
                <a:gd name="T81" fmla="*/ 205 h 289"/>
                <a:gd name="T82" fmla="*/ 137 w 290"/>
                <a:gd name="T83" fmla="*/ 149 h 289"/>
                <a:gd name="T84" fmla="*/ 143 w 290"/>
                <a:gd name="T85" fmla="*/ 136 h 289"/>
                <a:gd name="T86" fmla="*/ 154 w 290"/>
                <a:gd name="T87" fmla="*/ 147 h 289"/>
                <a:gd name="T88" fmla="*/ 139 w 290"/>
                <a:gd name="T89" fmla="*/ 134 h 289"/>
                <a:gd name="T90" fmla="*/ 135 w 290"/>
                <a:gd name="T91" fmla="*/ 151 h 289"/>
                <a:gd name="T92" fmla="*/ 158 w 290"/>
                <a:gd name="T93" fmla="*/ 145 h 289"/>
                <a:gd name="T94" fmla="*/ 143 w 290"/>
                <a:gd name="T95" fmla="*/ 130 h 289"/>
                <a:gd name="T96" fmla="*/ 156 w 290"/>
                <a:gd name="T97" fmla="*/ 149 h 289"/>
                <a:gd name="T98" fmla="*/ 96 w 290"/>
                <a:gd name="T99" fmla="*/ 262 h 289"/>
                <a:gd name="T100" fmla="*/ 19 w 290"/>
                <a:gd name="T101" fmla="*/ 145 h 289"/>
                <a:gd name="T102" fmla="*/ 108 w 290"/>
                <a:gd name="T103" fmla="*/ 24 h 289"/>
                <a:gd name="T104" fmla="*/ 241 w 290"/>
                <a:gd name="T105" fmla="*/ 64 h 289"/>
                <a:gd name="T106" fmla="*/ 257 w 290"/>
                <a:gd name="T107" fmla="*/ 205 h 289"/>
                <a:gd name="T108" fmla="*/ 145 w 290"/>
                <a:gd name="T109" fmla="*/ 289 h 289"/>
                <a:gd name="T110" fmla="*/ 284 w 290"/>
                <a:gd name="T111" fmla="*/ 188 h 289"/>
                <a:gd name="T112" fmla="*/ 238 w 290"/>
                <a:gd name="T113" fmla="*/ 33 h 289"/>
                <a:gd name="T114" fmla="*/ 75 w 290"/>
                <a:gd name="T115" fmla="*/ 18 h 289"/>
                <a:gd name="T116" fmla="*/ 2 w 290"/>
                <a:gd name="T117" fmla="*/ 159 h 289"/>
                <a:gd name="T118" fmla="*/ 116 w 290"/>
                <a:gd name="T119" fmla="*/ 2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0" h="289">
                  <a:moveTo>
                    <a:pt x="152" y="80"/>
                  </a:moveTo>
                  <a:lnTo>
                    <a:pt x="152" y="82"/>
                  </a:lnTo>
                  <a:lnTo>
                    <a:pt x="152" y="82"/>
                  </a:lnTo>
                  <a:lnTo>
                    <a:pt x="143" y="82"/>
                  </a:lnTo>
                  <a:lnTo>
                    <a:pt x="133" y="85"/>
                  </a:lnTo>
                  <a:lnTo>
                    <a:pt x="127" y="91"/>
                  </a:lnTo>
                  <a:lnTo>
                    <a:pt x="123" y="101"/>
                  </a:lnTo>
                  <a:lnTo>
                    <a:pt x="123" y="101"/>
                  </a:lnTo>
                  <a:lnTo>
                    <a:pt x="123" y="111"/>
                  </a:lnTo>
                  <a:lnTo>
                    <a:pt x="127" y="120"/>
                  </a:lnTo>
                  <a:lnTo>
                    <a:pt x="127" y="120"/>
                  </a:lnTo>
                  <a:lnTo>
                    <a:pt x="133" y="126"/>
                  </a:lnTo>
                  <a:lnTo>
                    <a:pt x="143" y="130"/>
                  </a:lnTo>
                  <a:lnTo>
                    <a:pt x="143" y="130"/>
                  </a:lnTo>
                  <a:lnTo>
                    <a:pt x="139" y="132"/>
                  </a:lnTo>
                  <a:lnTo>
                    <a:pt x="139" y="132"/>
                  </a:lnTo>
                  <a:lnTo>
                    <a:pt x="129" y="126"/>
                  </a:lnTo>
                  <a:lnTo>
                    <a:pt x="123" y="120"/>
                  </a:lnTo>
                  <a:lnTo>
                    <a:pt x="121" y="111"/>
                  </a:lnTo>
                  <a:lnTo>
                    <a:pt x="121" y="101"/>
                  </a:lnTo>
                  <a:lnTo>
                    <a:pt x="121" y="101"/>
                  </a:lnTo>
                  <a:lnTo>
                    <a:pt x="125" y="91"/>
                  </a:lnTo>
                  <a:lnTo>
                    <a:pt x="133" y="84"/>
                  </a:lnTo>
                  <a:lnTo>
                    <a:pt x="143" y="78"/>
                  </a:lnTo>
                  <a:lnTo>
                    <a:pt x="152" y="78"/>
                  </a:lnTo>
                  <a:lnTo>
                    <a:pt x="152" y="80"/>
                  </a:lnTo>
                  <a:close/>
                  <a:moveTo>
                    <a:pt x="143" y="134"/>
                  </a:moveTo>
                  <a:lnTo>
                    <a:pt x="143" y="134"/>
                  </a:lnTo>
                  <a:lnTo>
                    <a:pt x="143" y="134"/>
                  </a:lnTo>
                  <a:lnTo>
                    <a:pt x="143" y="134"/>
                  </a:lnTo>
                  <a:lnTo>
                    <a:pt x="143" y="134"/>
                  </a:lnTo>
                  <a:lnTo>
                    <a:pt x="143" y="134"/>
                  </a:lnTo>
                  <a:close/>
                  <a:moveTo>
                    <a:pt x="166" y="87"/>
                  </a:moveTo>
                  <a:lnTo>
                    <a:pt x="166" y="87"/>
                  </a:lnTo>
                  <a:lnTo>
                    <a:pt x="162" y="85"/>
                  </a:lnTo>
                  <a:lnTo>
                    <a:pt x="160" y="82"/>
                  </a:lnTo>
                  <a:lnTo>
                    <a:pt x="152" y="80"/>
                  </a:lnTo>
                  <a:lnTo>
                    <a:pt x="152" y="82"/>
                  </a:lnTo>
                  <a:lnTo>
                    <a:pt x="152" y="82"/>
                  </a:lnTo>
                  <a:lnTo>
                    <a:pt x="152" y="82"/>
                  </a:lnTo>
                  <a:lnTo>
                    <a:pt x="152" y="82"/>
                  </a:lnTo>
                  <a:lnTo>
                    <a:pt x="152" y="82"/>
                  </a:lnTo>
                  <a:lnTo>
                    <a:pt x="152" y="91"/>
                  </a:lnTo>
                  <a:lnTo>
                    <a:pt x="154" y="99"/>
                  </a:lnTo>
                  <a:lnTo>
                    <a:pt x="162" y="105"/>
                  </a:lnTo>
                  <a:lnTo>
                    <a:pt x="170" y="109"/>
                  </a:lnTo>
                  <a:lnTo>
                    <a:pt x="178" y="111"/>
                  </a:lnTo>
                  <a:lnTo>
                    <a:pt x="178" y="111"/>
                  </a:lnTo>
                  <a:lnTo>
                    <a:pt x="180" y="91"/>
                  </a:lnTo>
                  <a:lnTo>
                    <a:pt x="166" y="87"/>
                  </a:lnTo>
                  <a:close/>
                  <a:moveTo>
                    <a:pt x="216" y="68"/>
                  </a:moveTo>
                  <a:lnTo>
                    <a:pt x="191" y="62"/>
                  </a:lnTo>
                  <a:lnTo>
                    <a:pt x="191" y="62"/>
                  </a:lnTo>
                  <a:lnTo>
                    <a:pt x="185" y="82"/>
                  </a:lnTo>
                  <a:lnTo>
                    <a:pt x="185" y="82"/>
                  </a:lnTo>
                  <a:lnTo>
                    <a:pt x="185" y="82"/>
                  </a:lnTo>
                  <a:lnTo>
                    <a:pt x="187" y="84"/>
                  </a:lnTo>
                  <a:lnTo>
                    <a:pt x="189" y="87"/>
                  </a:lnTo>
                  <a:lnTo>
                    <a:pt x="189" y="87"/>
                  </a:lnTo>
                  <a:lnTo>
                    <a:pt x="185" y="91"/>
                  </a:lnTo>
                  <a:lnTo>
                    <a:pt x="181" y="91"/>
                  </a:lnTo>
                  <a:lnTo>
                    <a:pt x="181" y="91"/>
                  </a:lnTo>
                  <a:lnTo>
                    <a:pt x="181" y="91"/>
                  </a:lnTo>
                  <a:lnTo>
                    <a:pt x="180" y="111"/>
                  </a:lnTo>
                  <a:lnTo>
                    <a:pt x="205" y="116"/>
                  </a:lnTo>
                  <a:lnTo>
                    <a:pt x="205" y="116"/>
                  </a:lnTo>
                  <a:lnTo>
                    <a:pt x="214" y="118"/>
                  </a:lnTo>
                  <a:lnTo>
                    <a:pt x="222" y="114"/>
                  </a:lnTo>
                  <a:lnTo>
                    <a:pt x="228" y="109"/>
                  </a:lnTo>
                  <a:lnTo>
                    <a:pt x="232" y="99"/>
                  </a:lnTo>
                  <a:lnTo>
                    <a:pt x="234" y="97"/>
                  </a:lnTo>
                  <a:lnTo>
                    <a:pt x="234" y="97"/>
                  </a:lnTo>
                  <a:lnTo>
                    <a:pt x="234" y="87"/>
                  </a:lnTo>
                  <a:lnTo>
                    <a:pt x="230" y="80"/>
                  </a:lnTo>
                  <a:lnTo>
                    <a:pt x="224" y="72"/>
                  </a:lnTo>
                  <a:lnTo>
                    <a:pt x="216" y="68"/>
                  </a:lnTo>
                  <a:close/>
                  <a:moveTo>
                    <a:pt x="152" y="78"/>
                  </a:moveTo>
                  <a:lnTo>
                    <a:pt x="162" y="80"/>
                  </a:lnTo>
                  <a:lnTo>
                    <a:pt x="162" y="80"/>
                  </a:lnTo>
                  <a:lnTo>
                    <a:pt x="164" y="78"/>
                  </a:lnTo>
                  <a:lnTo>
                    <a:pt x="168" y="78"/>
                  </a:lnTo>
                  <a:lnTo>
                    <a:pt x="183" y="82"/>
                  </a:lnTo>
                  <a:lnTo>
                    <a:pt x="183" y="82"/>
                  </a:lnTo>
                  <a:lnTo>
                    <a:pt x="189" y="62"/>
                  </a:lnTo>
                  <a:lnTo>
                    <a:pt x="181" y="60"/>
                  </a:lnTo>
                  <a:lnTo>
                    <a:pt x="181" y="60"/>
                  </a:lnTo>
                  <a:lnTo>
                    <a:pt x="172" y="60"/>
                  </a:lnTo>
                  <a:lnTo>
                    <a:pt x="164" y="64"/>
                  </a:lnTo>
                  <a:lnTo>
                    <a:pt x="156" y="70"/>
                  </a:lnTo>
                  <a:lnTo>
                    <a:pt x="152" y="78"/>
                  </a:lnTo>
                  <a:lnTo>
                    <a:pt x="152" y="80"/>
                  </a:lnTo>
                  <a:lnTo>
                    <a:pt x="152" y="80"/>
                  </a:lnTo>
                  <a:lnTo>
                    <a:pt x="152" y="78"/>
                  </a:lnTo>
                  <a:close/>
                  <a:moveTo>
                    <a:pt x="152" y="80"/>
                  </a:moveTo>
                  <a:lnTo>
                    <a:pt x="152" y="80"/>
                  </a:lnTo>
                  <a:lnTo>
                    <a:pt x="152" y="80"/>
                  </a:lnTo>
                  <a:lnTo>
                    <a:pt x="152" y="80"/>
                  </a:lnTo>
                  <a:lnTo>
                    <a:pt x="152" y="82"/>
                  </a:lnTo>
                  <a:lnTo>
                    <a:pt x="152" y="82"/>
                  </a:lnTo>
                  <a:lnTo>
                    <a:pt x="152" y="82"/>
                  </a:lnTo>
                  <a:lnTo>
                    <a:pt x="152" y="80"/>
                  </a:lnTo>
                  <a:close/>
                  <a:moveTo>
                    <a:pt x="170" y="80"/>
                  </a:moveTo>
                  <a:lnTo>
                    <a:pt x="170" y="80"/>
                  </a:lnTo>
                  <a:lnTo>
                    <a:pt x="168" y="80"/>
                  </a:lnTo>
                  <a:lnTo>
                    <a:pt x="166" y="82"/>
                  </a:lnTo>
                  <a:lnTo>
                    <a:pt x="181" y="85"/>
                  </a:lnTo>
                  <a:lnTo>
                    <a:pt x="181" y="85"/>
                  </a:lnTo>
                  <a:lnTo>
                    <a:pt x="181" y="84"/>
                  </a:lnTo>
                  <a:lnTo>
                    <a:pt x="181" y="84"/>
                  </a:lnTo>
                  <a:lnTo>
                    <a:pt x="181" y="84"/>
                  </a:lnTo>
                  <a:lnTo>
                    <a:pt x="170" y="80"/>
                  </a:lnTo>
                  <a:close/>
                  <a:moveTo>
                    <a:pt x="166" y="84"/>
                  </a:moveTo>
                  <a:lnTo>
                    <a:pt x="166" y="84"/>
                  </a:lnTo>
                  <a:lnTo>
                    <a:pt x="168" y="85"/>
                  </a:lnTo>
                  <a:lnTo>
                    <a:pt x="170" y="87"/>
                  </a:lnTo>
                  <a:lnTo>
                    <a:pt x="180" y="89"/>
                  </a:lnTo>
                  <a:lnTo>
                    <a:pt x="180" y="89"/>
                  </a:lnTo>
                  <a:lnTo>
                    <a:pt x="181" y="89"/>
                  </a:lnTo>
                  <a:lnTo>
                    <a:pt x="181" y="89"/>
                  </a:lnTo>
                  <a:lnTo>
                    <a:pt x="181" y="87"/>
                  </a:lnTo>
                  <a:lnTo>
                    <a:pt x="166" y="84"/>
                  </a:lnTo>
                  <a:close/>
                  <a:moveTo>
                    <a:pt x="183" y="89"/>
                  </a:moveTo>
                  <a:lnTo>
                    <a:pt x="183" y="89"/>
                  </a:lnTo>
                  <a:lnTo>
                    <a:pt x="183" y="87"/>
                  </a:lnTo>
                  <a:lnTo>
                    <a:pt x="183" y="87"/>
                  </a:lnTo>
                  <a:lnTo>
                    <a:pt x="183" y="87"/>
                  </a:lnTo>
                  <a:lnTo>
                    <a:pt x="183" y="89"/>
                  </a:lnTo>
                  <a:close/>
                  <a:moveTo>
                    <a:pt x="183" y="85"/>
                  </a:moveTo>
                  <a:lnTo>
                    <a:pt x="183" y="85"/>
                  </a:lnTo>
                  <a:lnTo>
                    <a:pt x="183" y="85"/>
                  </a:lnTo>
                  <a:lnTo>
                    <a:pt x="183" y="85"/>
                  </a:lnTo>
                  <a:lnTo>
                    <a:pt x="183" y="85"/>
                  </a:lnTo>
                  <a:lnTo>
                    <a:pt x="183" y="85"/>
                  </a:lnTo>
                  <a:close/>
                  <a:moveTo>
                    <a:pt x="183" y="85"/>
                  </a:moveTo>
                  <a:lnTo>
                    <a:pt x="183" y="85"/>
                  </a:lnTo>
                  <a:lnTo>
                    <a:pt x="183" y="85"/>
                  </a:lnTo>
                  <a:lnTo>
                    <a:pt x="183" y="85"/>
                  </a:lnTo>
                  <a:lnTo>
                    <a:pt x="181" y="84"/>
                  </a:lnTo>
                  <a:lnTo>
                    <a:pt x="181" y="84"/>
                  </a:lnTo>
                  <a:lnTo>
                    <a:pt x="181" y="85"/>
                  </a:lnTo>
                  <a:lnTo>
                    <a:pt x="183" y="85"/>
                  </a:lnTo>
                  <a:close/>
                  <a:moveTo>
                    <a:pt x="181" y="87"/>
                  </a:moveTo>
                  <a:lnTo>
                    <a:pt x="181" y="87"/>
                  </a:lnTo>
                  <a:lnTo>
                    <a:pt x="181" y="89"/>
                  </a:lnTo>
                  <a:lnTo>
                    <a:pt x="181" y="89"/>
                  </a:lnTo>
                  <a:lnTo>
                    <a:pt x="183" y="89"/>
                  </a:lnTo>
                  <a:lnTo>
                    <a:pt x="183" y="89"/>
                  </a:lnTo>
                  <a:lnTo>
                    <a:pt x="183" y="87"/>
                  </a:lnTo>
                  <a:lnTo>
                    <a:pt x="181" y="87"/>
                  </a:lnTo>
                  <a:close/>
                  <a:moveTo>
                    <a:pt x="181" y="85"/>
                  </a:moveTo>
                  <a:lnTo>
                    <a:pt x="181" y="85"/>
                  </a:lnTo>
                  <a:lnTo>
                    <a:pt x="181" y="85"/>
                  </a:lnTo>
                  <a:lnTo>
                    <a:pt x="166" y="82"/>
                  </a:lnTo>
                  <a:lnTo>
                    <a:pt x="166" y="82"/>
                  </a:lnTo>
                  <a:lnTo>
                    <a:pt x="166" y="84"/>
                  </a:lnTo>
                  <a:lnTo>
                    <a:pt x="166" y="84"/>
                  </a:lnTo>
                  <a:lnTo>
                    <a:pt x="166" y="84"/>
                  </a:lnTo>
                  <a:lnTo>
                    <a:pt x="181" y="87"/>
                  </a:lnTo>
                  <a:lnTo>
                    <a:pt x="181" y="87"/>
                  </a:lnTo>
                  <a:lnTo>
                    <a:pt x="181" y="85"/>
                  </a:lnTo>
                  <a:close/>
                  <a:moveTo>
                    <a:pt x="183" y="87"/>
                  </a:moveTo>
                  <a:lnTo>
                    <a:pt x="183" y="87"/>
                  </a:lnTo>
                  <a:lnTo>
                    <a:pt x="183" y="87"/>
                  </a:lnTo>
                  <a:lnTo>
                    <a:pt x="183" y="87"/>
                  </a:lnTo>
                  <a:lnTo>
                    <a:pt x="183" y="87"/>
                  </a:lnTo>
                  <a:lnTo>
                    <a:pt x="183" y="87"/>
                  </a:lnTo>
                  <a:lnTo>
                    <a:pt x="183" y="87"/>
                  </a:lnTo>
                  <a:lnTo>
                    <a:pt x="183" y="85"/>
                  </a:lnTo>
                  <a:lnTo>
                    <a:pt x="183" y="85"/>
                  </a:lnTo>
                  <a:lnTo>
                    <a:pt x="183" y="85"/>
                  </a:lnTo>
                  <a:lnTo>
                    <a:pt x="183" y="87"/>
                  </a:lnTo>
                  <a:close/>
                  <a:moveTo>
                    <a:pt x="181" y="87"/>
                  </a:moveTo>
                  <a:lnTo>
                    <a:pt x="183" y="87"/>
                  </a:lnTo>
                  <a:lnTo>
                    <a:pt x="183" y="87"/>
                  </a:lnTo>
                  <a:lnTo>
                    <a:pt x="183" y="87"/>
                  </a:lnTo>
                  <a:lnTo>
                    <a:pt x="183" y="87"/>
                  </a:lnTo>
                  <a:lnTo>
                    <a:pt x="183" y="85"/>
                  </a:lnTo>
                  <a:lnTo>
                    <a:pt x="181" y="85"/>
                  </a:lnTo>
                  <a:lnTo>
                    <a:pt x="181" y="85"/>
                  </a:lnTo>
                  <a:lnTo>
                    <a:pt x="181" y="85"/>
                  </a:lnTo>
                  <a:lnTo>
                    <a:pt x="181" y="85"/>
                  </a:lnTo>
                  <a:lnTo>
                    <a:pt x="181" y="87"/>
                  </a:lnTo>
                  <a:close/>
                  <a:moveTo>
                    <a:pt x="133" y="151"/>
                  </a:moveTo>
                  <a:lnTo>
                    <a:pt x="133" y="151"/>
                  </a:lnTo>
                  <a:lnTo>
                    <a:pt x="135" y="161"/>
                  </a:lnTo>
                  <a:lnTo>
                    <a:pt x="131" y="171"/>
                  </a:lnTo>
                  <a:lnTo>
                    <a:pt x="125" y="178"/>
                  </a:lnTo>
                  <a:lnTo>
                    <a:pt x="118" y="184"/>
                  </a:lnTo>
                  <a:lnTo>
                    <a:pt x="118" y="184"/>
                  </a:lnTo>
                  <a:lnTo>
                    <a:pt x="108" y="186"/>
                  </a:lnTo>
                  <a:lnTo>
                    <a:pt x="98" y="182"/>
                  </a:lnTo>
                  <a:lnTo>
                    <a:pt x="91" y="176"/>
                  </a:lnTo>
                  <a:lnTo>
                    <a:pt x="85" y="169"/>
                  </a:lnTo>
                  <a:lnTo>
                    <a:pt x="85" y="169"/>
                  </a:lnTo>
                  <a:lnTo>
                    <a:pt x="85" y="169"/>
                  </a:lnTo>
                  <a:lnTo>
                    <a:pt x="83" y="169"/>
                  </a:lnTo>
                  <a:lnTo>
                    <a:pt x="83" y="169"/>
                  </a:lnTo>
                  <a:lnTo>
                    <a:pt x="89" y="178"/>
                  </a:lnTo>
                  <a:lnTo>
                    <a:pt x="98" y="186"/>
                  </a:lnTo>
                  <a:lnTo>
                    <a:pt x="108" y="188"/>
                  </a:lnTo>
                  <a:lnTo>
                    <a:pt x="120" y="186"/>
                  </a:lnTo>
                  <a:lnTo>
                    <a:pt x="120" y="186"/>
                  </a:lnTo>
                  <a:lnTo>
                    <a:pt x="123" y="184"/>
                  </a:lnTo>
                  <a:lnTo>
                    <a:pt x="123" y="184"/>
                  </a:lnTo>
                  <a:lnTo>
                    <a:pt x="131" y="178"/>
                  </a:lnTo>
                  <a:lnTo>
                    <a:pt x="135" y="171"/>
                  </a:lnTo>
                  <a:lnTo>
                    <a:pt x="137" y="163"/>
                  </a:lnTo>
                  <a:lnTo>
                    <a:pt x="137" y="155"/>
                  </a:lnTo>
                  <a:lnTo>
                    <a:pt x="137" y="155"/>
                  </a:lnTo>
                  <a:lnTo>
                    <a:pt x="133" y="151"/>
                  </a:lnTo>
                  <a:lnTo>
                    <a:pt x="133" y="151"/>
                  </a:lnTo>
                  <a:close/>
                  <a:moveTo>
                    <a:pt x="69" y="140"/>
                  </a:moveTo>
                  <a:lnTo>
                    <a:pt x="69" y="140"/>
                  </a:lnTo>
                  <a:lnTo>
                    <a:pt x="71" y="136"/>
                  </a:lnTo>
                  <a:lnTo>
                    <a:pt x="73" y="134"/>
                  </a:lnTo>
                  <a:lnTo>
                    <a:pt x="73" y="134"/>
                  </a:lnTo>
                  <a:lnTo>
                    <a:pt x="77" y="134"/>
                  </a:lnTo>
                  <a:lnTo>
                    <a:pt x="81" y="138"/>
                  </a:lnTo>
                  <a:lnTo>
                    <a:pt x="81" y="138"/>
                  </a:lnTo>
                  <a:lnTo>
                    <a:pt x="81" y="138"/>
                  </a:lnTo>
                  <a:lnTo>
                    <a:pt x="98" y="130"/>
                  </a:lnTo>
                  <a:lnTo>
                    <a:pt x="91" y="105"/>
                  </a:lnTo>
                  <a:lnTo>
                    <a:pt x="91" y="105"/>
                  </a:lnTo>
                  <a:lnTo>
                    <a:pt x="87" y="97"/>
                  </a:lnTo>
                  <a:lnTo>
                    <a:pt x="81" y="91"/>
                  </a:lnTo>
                  <a:lnTo>
                    <a:pt x="71" y="89"/>
                  </a:lnTo>
                  <a:lnTo>
                    <a:pt x="62" y="89"/>
                  </a:lnTo>
                  <a:lnTo>
                    <a:pt x="60" y="91"/>
                  </a:lnTo>
                  <a:lnTo>
                    <a:pt x="60" y="91"/>
                  </a:lnTo>
                  <a:lnTo>
                    <a:pt x="50" y="95"/>
                  </a:lnTo>
                  <a:lnTo>
                    <a:pt x="44" y="103"/>
                  </a:lnTo>
                  <a:lnTo>
                    <a:pt x="42" y="111"/>
                  </a:lnTo>
                  <a:lnTo>
                    <a:pt x="44" y="120"/>
                  </a:lnTo>
                  <a:lnTo>
                    <a:pt x="50" y="145"/>
                  </a:lnTo>
                  <a:lnTo>
                    <a:pt x="50" y="145"/>
                  </a:lnTo>
                  <a:lnTo>
                    <a:pt x="69" y="140"/>
                  </a:lnTo>
                  <a:lnTo>
                    <a:pt x="69" y="140"/>
                  </a:lnTo>
                  <a:close/>
                  <a:moveTo>
                    <a:pt x="75" y="157"/>
                  </a:moveTo>
                  <a:lnTo>
                    <a:pt x="71" y="142"/>
                  </a:lnTo>
                  <a:lnTo>
                    <a:pt x="71" y="142"/>
                  </a:lnTo>
                  <a:lnTo>
                    <a:pt x="52" y="147"/>
                  </a:lnTo>
                  <a:lnTo>
                    <a:pt x="54" y="153"/>
                  </a:lnTo>
                  <a:lnTo>
                    <a:pt x="54" y="153"/>
                  </a:lnTo>
                  <a:lnTo>
                    <a:pt x="58" y="163"/>
                  </a:lnTo>
                  <a:lnTo>
                    <a:pt x="65" y="167"/>
                  </a:lnTo>
                  <a:lnTo>
                    <a:pt x="73" y="171"/>
                  </a:lnTo>
                  <a:lnTo>
                    <a:pt x="83" y="169"/>
                  </a:lnTo>
                  <a:lnTo>
                    <a:pt x="83" y="169"/>
                  </a:lnTo>
                  <a:lnTo>
                    <a:pt x="81" y="161"/>
                  </a:lnTo>
                  <a:lnTo>
                    <a:pt x="81" y="161"/>
                  </a:lnTo>
                  <a:lnTo>
                    <a:pt x="77" y="159"/>
                  </a:lnTo>
                  <a:lnTo>
                    <a:pt x="75" y="157"/>
                  </a:lnTo>
                  <a:close/>
                  <a:moveTo>
                    <a:pt x="85" y="153"/>
                  </a:moveTo>
                  <a:lnTo>
                    <a:pt x="85" y="153"/>
                  </a:lnTo>
                  <a:lnTo>
                    <a:pt x="85" y="157"/>
                  </a:lnTo>
                  <a:lnTo>
                    <a:pt x="83" y="161"/>
                  </a:lnTo>
                  <a:lnTo>
                    <a:pt x="85" y="169"/>
                  </a:lnTo>
                  <a:lnTo>
                    <a:pt x="85" y="169"/>
                  </a:lnTo>
                  <a:lnTo>
                    <a:pt x="85" y="169"/>
                  </a:lnTo>
                  <a:lnTo>
                    <a:pt x="85" y="169"/>
                  </a:lnTo>
                  <a:lnTo>
                    <a:pt x="87" y="169"/>
                  </a:lnTo>
                  <a:lnTo>
                    <a:pt x="87" y="169"/>
                  </a:lnTo>
                  <a:lnTo>
                    <a:pt x="94" y="165"/>
                  </a:lnTo>
                  <a:lnTo>
                    <a:pt x="100" y="157"/>
                  </a:lnTo>
                  <a:lnTo>
                    <a:pt x="102" y="149"/>
                  </a:lnTo>
                  <a:lnTo>
                    <a:pt x="102" y="140"/>
                  </a:lnTo>
                  <a:lnTo>
                    <a:pt x="100" y="132"/>
                  </a:lnTo>
                  <a:lnTo>
                    <a:pt x="100" y="132"/>
                  </a:lnTo>
                  <a:lnTo>
                    <a:pt x="81" y="140"/>
                  </a:lnTo>
                  <a:lnTo>
                    <a:pt x="85" y="153"/>
                  </a:lnTo>
                  <a:close/>
                  <a:moveTo>
                    <a:pt x="85" y="169"/>
                  </a:moveTo>
                  <a:lnTo>
                    <a:pt x="85" y="169"/>
                  </a:lnTo>
                  <a:lnTo>
                    <a:pt x="85" y="169"/>
                  </a:lnTo>
                  <a:lnTo>
                    <a:pt x="85" y="169"/>
                  </a:lnTo>
                  <a:lnTo>
                    <a:pt x="85" y="169"/>
                  </a:lnTo>
                  <a:lnTo>
                    <a:pt x="85" y="169"/>
                  </a:lnTo>
                  <a:close/>
                  <a:moveTo>
                    <a:pt x="75" y="138"/>
                  </a:moveTo>
                  <a:lnTo>
                    <a:pt x="75" y="138"/>
                  </a:lnTo>
                  <a:lnTo>
                    <a:pt x="75" y="138"/>
                  </a:lnTo>
                  <a:lnTo>
                    <a:pt x="75" y="138"/>
                  </a:lnTo>
                  <a:lnTo>
                    <a:pt x="75" y="138"/>
                  </a:lnTo>
                  <a:close/>
                  <a:moveTo>
                    <a:pt x="75" y="140"/>
                  </a:moveTo>
                  <a:lnTo>
                    <a:pt x="75" y="140"/>
                  </a:lnTo>
                  <a:lnTo>
                    <a:pt x="73" y="140"/>
                  </a:lnTo>
                  <a:lnTo>
                    <a:pt x="73" y="140"/>
                  </a:lnTo>
                  <a:lnTo>
                    <a:pt x="75" y="140"/>
                  </a:lnTo>
                  <a:lnTo>
                    <a:pt x="75" y="140"/>
                  </a:lnTo>
                  <a:close/>
                  <a:moveTo>
                    <a:pt x="77" y="138"/>
                  </a:moveTo>
                  <a:lnTo>
                    <a:pt x="77" y="138"/>
                  </a:lnTo>
                  <a:lnTo>
                    <a:pt x="75" y="138"/>
                  </a:lnTo>
                  <a:lnTo>
                    <a:pt x="77" y="140"/>
                  </a:lnTo>
                  <a:lnTo>
                    <a:pt x="77" y="140"/>
                  </a:lnTo>
                  <a:lnTo>
                    <a:pt x="77" y="138"/>
                  </a:lnTo>
                  <a:close/>
                  <a:moveTo>
                    <a:pt x="73" y="142"/>
                  </a:moveTo>
                  <a:lnTo>
                    <a:pt x="73" y="142"/>
                  </a:lnTo>
                  <a:lnTo>
                    <a:pt x="73" y="143"/>
                  </a:lnTo>
                  <a:lnTo>
                    <a:pt x="75" y="153"/>
                  </a:lnTo>
                  <a:lnTo>
                    <a:pt x="75" y="153"/>
                  </a:lnTo>
                  <a:lnTo>
                    <a:pt x="77" y="155"/>
                  </a:lnTo>
                  <a:lnTo>
                    <a:pt x="79" y="155"/>
                  </a:lnTo>
                  <a:lnTo>
                    <a:pt x="75" y="142"/>
                  </a:lnTo>
                  <a:lnTo>
                    <a:pt x="75" y="142"/>
                  </a:lnTo>
                  <a:lnTo>
                    <a:pt x="73" y="142"/>
                  </a:lnTo>
                  <a:close/>
                  <a:moveTo>
                    <a:pt x="81" y="155"/>
                  </a:moveTo>
                  <a:lnTo>
                    <a:pt x="81" y="155"/>
                  </a:lnTo>
                  <a:lnTo>
                    <a:pt x="83" y="153"/>
                  </a:lnTo>
                  <a:lnTo>
                    <a:pt x="83" y="151"/>
                  </a:lnTo>
                  <a:lnTo>
                    <a:pt x="79" y="142"/>
                  </a:lnTo>
                  <a:lnTo>
                    <a:pt x="79" y="142"/>
                  </a:lnTo>
                  <a:lnTo>
                    <a:pt x="79" y="140"/>
                  </a:lnTo>
                  <a:lnTo>
                    <a:pt x="79" y="140"/>
                  </a:lnTo>
                  <a:lnTo>
                    <a:pt x="77" y="142"/>
                  </a:lnTo>
                  <a:lnTo>
                    <a:pt x="81" y="155"/>
                  </a:lnTo>
                  <a:close/>
                  <a:moveTo>
                    <a:pt x="75" y="140"/>
                  </a:moveTo>
                  <a:lnTo>
                    <a:pt x="75" y="140"/>
                  </a:lnTo>
                  <a:lnTo>
                    <a:pt x="73" y="140"/>
                  </a:lnTo>
                  <a:lnTo>
                    <a:pt x="73" y="140"/>
                  </a:lnTo>
                  <a:lnTo>
                    <a:pt x="73" y="142"/>
                  </a:lnTo>
                  <a:lnTo>
                    <a:pt x="73" y="142"/>
                  </a:lnTo>
                  <a:lnTo>
                    <a:pt x="75" y="142"/>
                  </a:lnTo>
                  <a:lnTo>
                    <a:pt x="75" y="140"/>
                  </a:lnTo>
                  <a:close/>
                  <a:moveTo>
                    <a:pt x="77" y="140"/>
                  </a:moveTo>
                  <a:lnTo>
                    <a:pt x="77" y="142"/>
                  </a:lnTo>
                  <a:lnTo>
                    <a:pt x="77" y="142"/>
                  </a:lnTo>
                  <a:lnTo>
                    <a:pt x="79" y="140"/>
                  </a:lnTo>
                  <a:lnTo>
                    <a:pt x="79" y="140"/>
                  </a:lnTo>
                  <a:lnTo>
                    <a:pt x="77" y="138"/>
                  </a:lnTo>
                  <a:lnTo>
                    <a:pt x="77" y="138"/>
                  </a:lnTo>
                  <a:lnTo>
                    <a:pt x="77" y="140"/>
                  </a:lnTo>
                  <a:close/>
                  <a:moveTo>
                    <a:pt x="75" y="140"/>
                  </a:moveTo>
                  <a:lnTo>
                    <a:pt x="75" y="140"/>
                  </a:lnTo>
                  <a:lnTo>
                    <a:pt x="77" y="140"/>
                  </a:lnTo>
                  <a:lnTo>
                    <a:pt x="75" y="138"/>
                  </a:lnTo>
                  <a:lnTo>
                    <a:pt x="75" y="138"/>
                  </a:lnTo>
                  <a:lnTo>
                    <a:pt x="75" y="138"/>
                  </a:lnTo>
                  <a:lnTo>
                    <a:pt x="75" y="138"/>
                  </a:lnTo>
                  <a:lnTo>
                    <a:pt x="75" y="138"/>
                  </a:lnTo>
                  <a:lnTo>
                    <a:pt x="75" y="140"/>
                  </a:lnTo>
                  <a:lnTo>
                    <a:pt x="75" y="140"/>
                  </a:lnTo>
                  <a:lnTo>
                    <a:pt x="75" y="140"/>
                  </a:lnTo>
                  <a:lnTo>
                    <a:pt x="75" y="140"/>
                  </a:lnTo>
                  <a:close/>
                  <a:moveTo>
                    <a:pt x="75" y="142"/>
                  </a:moveTo>
                  <a:lnTo>
                    <a:pt x="75" y="142"/>
                  </a:lnTo>
                  <a:lnTo>
                    <a:pt x="75" y="142"/>
                  </a:lnTo>
                  <a:lnTo>
                    <a:pt x="79" y="155"/>
                  </a:lnTo>
                  <a:lnTo>
                    <a:pt x="79" y="155"/>
                  </a:lnTo>
                  <a:lnTo>
                    <a:pt x="81" y="155"/>
                  </a:lnTo>
                  <a:lnTo>
                    <a:pt x="81" y="155"/>
                  </a:lnTo>
                  <a:lnTo>
                    <a:pt x="81" y="155"/>
                  </a:lnTo>
                  <a:lnTo>
                    <a:pt x="77" y="142"/>
                  </a:lnTo>
                  <a:lnTo>
                    <a:pt x="77" y="142"/>
                  </a:lnTo>
                  <a:lnTo>
                    <a:pt x="75" y="142"/>
                  </a:lnTo>
                  <a:close/>
                  <a:moveTo>
                    <a:pt x="75" y="140"/>
                  </a:moveTo>
                  <a:lnTo>
                    <a:pt x="75" y="142"/>
                  </a:lnTo>
                  <a:lnTo>
                    <a:pt x="75" y="142"/>
                  </a:lnTo>
                  <a:lnTo>
                    <a:pt x="75" y="142"/>
                  </a:lnTo>
                  <a:lnTo>
                    <a:pt x="75" y="142"/>
                  </a:lnTo>
                  <a:lnTo>
                    <a:pt x="77" y="142"/>
                  </a:lnTo>
                  <a:lnTo>
                    <a:pt x="77" y="140"/>
                  </a:lnTo>
                  <a:lnTo>
                    <a:pt x="77" y="140"/>
                  </a:lnTo>
                  <a:lnTo>
                    <a:pt x="75" y="140"/>
                  </a:lnTo>
                  <a:lnTo>
                    <a:pt x="75" y="140"/>
                  </a:lnTo>
                  <a:lnTo>
                    <a:pt x="75" y="140"/>
                  </a:lnTo>
                  <a:close/>
                  <a:moveTo>
                    <a:pt x="156" y="149"/>
                  </a:moveTo>
                  <a:lnTo>
                    <a:pt x="156" y="149"/>
                  </a:lnTo>
                  <a:lnTo>
                    <a:pt x="164" y="143"/>
                  </a:lnTo>
                  <a:lnTo>
                    <a:pt x="174" y="142"/>
                  </a:lnTo>
                  <a:lnTo>
                    <a:pt x="183" y="142"/>
                  </a:lnTo>
                  <a:lnTo>
                    <a:pt x="193" y="147"/>
                  </a:lnTo>
                  <a:lnTo>
                    <a:pt x="193" y="147"/>
                  </a:lnTo>
                  <a:lnTo>
                    <a:pt x="199" y="155"/>
                  </a:lnTo>
                  <a:lnTo>
                    <a:pt x="201" y="165"/>
                  </a:lnTo>
                  <a:lnTo>
                    <a:pt x="201" y="174"/>
                  </a:lnTo>
                  <a:lnTo>
                    <a:pt x="195" y="182"/>
                  </a:lnTo>
                  <a:lnTo>
                    <a:pt x="195" y="182"/>
                  </a:lnTo>
                  <a:lnTo>
                    <a:pt x="195" y="182"/>
                  </a:lnTo>
                  <a:lnTo>
                    <a:pt x="195" y="184"/>
                  </a:lnTo>
                  <a:lnTo>
                    <a:pt x="197" y="184"/>
                  </a:lnTo>
                  <a:lnTo>
                    <a:pt x="197" y="184"/>
                  </a:lnTo>
                  <a:lnTo>
                    <a:pt x="203" y="174"/>
                  </a:lnTo>
                  <a:lnTo>
                    <a:pt x="203" y="165"/>
                  </a:lnTo>
                  <a:lnTo>
                    <a:pt x="201" y="153"/>
                  </a:lnTo>
                  <a:lnTo>
                    <a:pt x="193" y="145"/>
                  </a:lnTo>
                  <a:lnTo>
                    <a:pt x="193" y="145"/>
                  </a:lnTo>
                  <a:lnTo>
                    <a:pt x="185" y="140"/>
                  </a:lnTo>
                  <a:lnTo>
                    <a:pt x="176" y="138"/>
                  </a:lnTo>
                  <a:lnTo>
                    <a:pt x="166" y="140"/>
                  </a:lnTo>
                  <a:lnTo>
                    <a:pt x="158" y="145"/>
                  </a:lnTo>
                  <a:lnTo>
                    <a:pt x="158" y="145"/>
                  </a:lnTo>
                  <a:lnTo>
                    <a:pt x="156" y="149"/>
                  </a:lnTo>
                  <a:close/>
                  <a:moveTo>
                    <a:pt x="191" y="190"/>
                  </a:moveTo>
                  <a:lnTo>
                    <a:pt x="191" y="190"/>
                  </a:lnTo>
                  <a:lnTo>
                    <a:pt x="191" y="194"/>
                  </a:lnTo>
                  <a:lnTo>
                    <a:pt x="189" y="198"/>
                  </a:lnTo>
                  <a:lnTo>
                    <a:pt x="180" y="209"/>
                  </a:lnTo>
                  <a:lnTo>
                    <a:pt x="180" y="209"/>
                  </a:lnTo>
                  <a:lnTo>
                    <a:pt x="193" y="223"/>
                  </a:lnTo>
                  <a:lnTo>
                    <a:pt x="199" y="217"/>
                  </a:lnTo>
                  <a:lnTo>
                    <a:pt x="199" y="217"/>
                  </a:lnTo>
                  <a:lnTo>
                    <a:pt x="203" y="209"/>
                  </a:lnTo>
                  <a:lnTo>
                    <a:pt x="205" y="202"/>
                  </a:lnTo>
                  <a:lnTo>
                    <a:pt x="203" y="192"/>
                  </a:lnTo>
                  <a:lnTo>
                    <a:pt x="197" y="184"/>
                  </a:lnTo>
                  <a:lnTo>
                    <a:pt x="197" y="184"/>
                  </a:lnTo>
                  <a:lnTo>
                    <a:pt x="197" y="184"/>
                  </a:lnTo>
                  <a:lnTo>
                    <a:pt x="191" y="190"/>
                  </a:lnTo>
                  <a:close/>
                  <a:moveTo>
                    <a:pt x="178" y="209"/>
                  </a:moveTo>
                  <a:lnTo>
                    <a:pt x="178" y="209"/>
                  </a:lnTo>
                  <a:lnTo>
                    <a:pt x="174" y="211"/>
                  </a:lnTo>
                  <a:lnTo>
                    <a:pt x="170" y="211"/>
                  </a:lnTo>
                  <a:lnTo>
                    <a:pt x="170" y="211"/>
                  </a:lnTo>
                  <a:lnTo>
                    <a:pt x="170" y="207"/>
                  </a:lnTo>
                  <a:lnTo>
                    <a:pt x="170" y="203"/>
                  </a:lnTo>
                  <a:lnTo>
                    <a:pt x="170" y="203"/>
                  </a:lnTo>
                  <a:lnTo>
                    <a:pt x="170" y="203"/>
                  </a:lnTo>
                  <a:lnTo>
                    <a:pt x="154" y="190"/>
                  </a:lnTo>
                  <a:lnTo>
                    <a:pt x="137" y="209"/>
                  </a:lnTo>
                  <a:lnTo>
                    <a:pt x="137" y="209"/>
                  </a:lnTo>
                  <a:lnTo>
                    <a:pt x="133" y="217"/>
                  </a:lnTo>
                  <a:lnTo>
                    <a:pt x="131" y="227"/>
                  </a:lnTo>
                  <a:lnTo>
                    <a:pt x="133" y="234"/>
                  </a:lnTo>
                  <a:lnTo>
                    <a:pt x="139" y="242"/>
                  </a:lnTo>
                  <a:lnTo>
                    <a:pt x="141" y="244"/>
                  </a:lnTo>
                  <a:lnTo>
                    <a:pt x="141" y="244"/>
                  </a:lnTo>
                  <a:lnTo>
                    <a:pt x="149" y="250"/>
                  </a:lnTo>
                  <a:lnTo>
                    <a:pt x="158" y="250"/>
                  </a:lnTo>
                  <a:lnTo>
                    <a:pt x="166" y="248"/>
                  </a:lnTo>
                  <a:lnTo>
                    <a:pt x="174" y="244"/>
                  </a:lnTo>
                  <a:lnTo>
                    <a:pt x="191" y="225"/>
                  </a:lnTo>
                  <a:lnTo>
                    <a:pt x="191" y="225"/>
                  </a:lnTo>
                  <a:lnTo>
                    <a:pt x="178" y="209"/>
                  </a:lnTo>
                  <a:lnTo>
                    <a:pt x="178" y="209"/>
                  </a:lnTo>
                  <a:close/>
                  <a:moveTo>
                    <a:pt x="181" y="190"/>
                  </a:moveTo>
                  <a:lnTo>
                    <a:pt x="181" y="190"/>
                  </a:lnTo>
                  <a:lnTo>
                    <a:pt x="185" y="188"/>
                  </a:lnTo>
                  <a:lnTo>
                    <a:pt x="189" y="190"/>
                  </a:lnTo>
                  <a:lnTo>
                    <a:pt x="195" y="182"/>
                  </a:lnTo>
                  <a:lnTo>
                    <a:pt x="195" y="182"/>
                  </a:lnTo>
                  <a:lnTo>
                    <a:pt x="195" y="182"/>
                  </a:lnTo>
                  <a:lnTo>
                    <a:pt x="195" y="182"/>
                  </a:lnTo>
                  <a:lnTo>
                    <a:pt x="195" y="182"/>
                  </a:lnTo>
                  <a:lnTo>
                    <a:pt x="195" y="182"/>
                  </a:lnTo>
                  <a:lnTo>
                    <a:pt x="187" y="178"/>
                  </a:lnTo>
                  <a:lnTo>
                    <a:pt x="178" y="176"/>
                  </a:lnTo>
                  <a:lnTo>
                    <a:pt x="170" y="178"/>
                  </a:lnTo>
                  <a:lnTo>
                    <a:pt x="162" y="184"/>
                  </a:lnTo>
                  <a:lnTo>
                    <a:pt x="156" y="188"/>
                  </a:lnTo>
                  <a:lnTo>
                    <a:pt x="156" y="188"/>
                  </a:lnTo>
                  <a:lnTo>
                    <a:pt x="172" y="202"/>
                  </a:lnTo>
                  <a:lnTo>
                    <a:pt x="181" y="190"/>
                  </a:lnTo>
                  <a:close/>
                  <a:moveTo>
                    <a:pt x="195" y="182"/>
                  </a:moveTo>
                  <a:lnTo>
                    <a:pt x="195" y="182"/>
                  </a:lnTo>
                  <a:lnTo>
                    <a:pt x="195" y="182"/>
                  </a:lnTo>
                  <a:lnTo>
                    <a:pt x="195" y="182"/>
                  </a:lnTo>
                  <a:lnTo>
                    <a:pt x="195" y="182"/>
                  </a:lnTo>
                  <a:lnTo>
                    <a:pt x="195" y="182"/>
                  </a:lnTo>
                  <a:close/>
                  <a:moveTo>
                    <a:pt x="174" y="205"/>
                  </a:moveTo>
                  <a:lnTo>
                    <a:pt x="174" y="205"/>
                  </a:lnTo>
                  <a:lnTo>
                    <a:pt x="174" y="205"/>
                  </a:lnTo>
                  <a:lnTo>
                    <a:pt x="174" y="205"/>
                  </a:lnTo>
                  <a:lnTo>
                    <a:pt x="174" y="205"/>
                  </a:lnTo>
                  <a:lnTo>
                    <a:pt x="174" y="205"/>
                  </a:lnTo>
                  <a:close/>
                  <a:moveTo>
                    <a:pt x="174" y="207"/>
                  </a:moveTo>
                  <a:lnTo>
                    <a:pt x="174" y="207"/>
                  </a:lnTo>
                  <a:lnTo>
                    <a:pt x="174" y="207"/>
                  </a:lnTo>
                  <a:lnTo>
                    <a:pt x="174" y="207"/>
                  </a:lnTo>
                  <a:lnTo>
                    <a:pt x="174" y="207"/>
                  </a:lnTo>
                  <a:lnTo>
                    <a:pt x="174" y="207"/>
                  </a:lnTo>
                  <a:close/>
                  <a:moveTo>
                    <a:pt x="176" y="207"/>
                  </a:moveTo>
                  <a:lnTo>
                    <a:pt x="176" y="207"/>
                  </a:lnTo>
                  <a:lnTo>
                    <a:pt x="176" y="207"/>
                  </a:lnTo>
                  <a:lnTo>
                    <a:pt x="176" y="207"/>
                  </a:lnTo>
                  <a:lnTo>
                    <a:pt x="176" y="207"/>
                  </a:lnTo>
                  <a:lnTo>
                    <a:pt x="176" y="207"/>
                  </a:lnTo>
                  <a:close/>
                  <a:moveTo>
                    <a:pt x="185" y="194"/>
                  </a:moveTo>
                  <a:lnTo>
                    <a:pt x="185" y="194"/>
                  </a:lnTo>
                  <a:lnTo>
                    <a:pt x="183" y="194"/>
                  </a:lnTo>
                  <a:lnTo>
                    <a:pt x="181" y="194"/>
                  </a:lnTo>
                  <a:lnTo>
                    <a:pt x="174" y="202"/>
                  </a:lnTo>
                  <a:lnTo>
                    <a:pt x="174" y="202"/>
                  </a:lnTo>
                  <a:lnTo>
                    <a:pt x="174" y="203"/>
                  </a:lnTo>
                  <a:lnTo>
                    <a:pt x="174" y="203"/>
                  </a:lnTo>
                  <a:lnTo>
                    <a:pt x="176" y="203"/>
                  </a:lnTo>
                  <a:lnTo>
                    <a:pt x="185" y="194"/>
                  </a:lnTo>
                  <a:close/>
                  <a:moveTo>
                    <a:pt x="178" y="207"/>
                  </a:moveTo>
                  <a:lnTo>
                    <a:pt x="178" y="207"/>
                  </a:lnTo>
                  <a:lnTo>
                    <a:pt x="180" y="205"/>
                  </a:lnTo>
                  <a:lnTo>
                    <a:pt x="187" y="200"/>
                  </a:lnTo>
                  <a:lnTo>
                    <a:pt x="187" y="200"/>
                  </a:lnTo>
                  <a:lnTo>
                    <a:pt x="187" y="196"/>
                  </a:lnTo>
                  <a:lnTo>
                    <a:pt x="187" y="194"/>
                  </a:lnTo>
                  <a:lnTo>
                    <a:pt x="178" y="205"/>
                  </a:lnTo>
                  <a:lnTo>
                    <a:pt x="178" y="205"/>
                  </a:lnTo>
                  <a:lnTo>
                    <a:pt x="178" y="207"/>
                  </a:lnTo>
                  <a:close/>
                  <a:moveTo>
                    <a:pt x="174" y="205"/>
                  </a:moveTo>
                  <a:lnTo>
                    <a:pt x="174" y="205"/>
                  </a:lnTo>
                  <a:lnTo>
                    <a:pt x="174" y="205"/>
                  </a:lnTo>
                  <a:lnTo>
                    <a:pt x="176" y="203"/>
                  </a:lnTo>
                  <a:lnTo>
                    <a:pt x="176" y="203"/>
                  </a:lnTo>
                  <a:lnTo>
                    <a:pt x="174" y="203"/>
                  </a:lnTo>
                  <a:lnTo>
                    <a:pt x="174" y="203"/>
                  </a:lnTo>
                  <a:lnTo>
                    <a:pt x="174" y="205"/>
                  </a:lnTo>
                  <a:close/>
                  <a:moveTo>
                    <a:pt x="176" y="207"/>
                  </a:moveTo>
                  <a:lnTo>
                    <a:pt x="176" y="207"/>
                  </a:lnTo>
                  <a:lnTo>
                    <a:pt x="176" y="207"/>
                  </a:lnTo>
                  <a:lnTo>
                    <a:pt x="176" y="207"/>
                  </a:lnTo>
                  <a:lnTo>
                    <a:pt x="178" y="207"/>
                  </a:lnTo>
                  <a:lnTo>
                    <a:pt x="178" y="207"/>
                  </a:lnTo>
                  <a:lnTo>
                    <a:pt x="178" y="205"/>
                  </a:lnTo>
                  <a:lnTo>
                    <a:pt x="176" y="207"/>
                  </a:lnTo>
                  <a:close/>
                  <a:moveTo>
                    <a:pt x="176" y="205"/>
                  </a:moveTo>
                  <a:lnTo>
                    <a:pt x="176" y="205"/>
                  </a:lnTo>
                  <a:lnTo>
                    <a:pt x="178" y="205"/>
                  </a:lnTo>
                  <a:lnTo>
                    <a:pt x="187" y="194"/>
                  </a:lnTo>
                  <a:lnTo>
                    <a:pt x="187" y="194"/>
                  </a:lnTo>
                  <a:lnTo>
                    <a:pt x="187" y="194"/>
                  </a:lnTo>
                  <a:lnTo>
                    <a:pt x="187" y="194"/>
                  </a:lnTo>
                  <a:lnTo>
                    <a:pt x="185" y="194"/>
                  </a:lnTo>
                  <a:lnTo>
                    <a:pt x="176" y="203"/>
                  </a:lnTo>
                  <a:lnTo>
                    <a:pt x="176" y="203"/>
                  </a:lnTo>
                  <a:lnTo>
                    <a:pt x="176" y="205"/>
                  </a:lnTo>
                  <a:close/>
                  <a:moveTo>
                    <a:pt x="174" y="205"/>
                  </a:moveTo>
                  <a:lnTo>
                    <a:pt x="174" y="205"/>
                  </a:lnTo>
                  <a:lnTo>
                    <a:pt x="174" y="205"/>
                  </a:lnTo>
                  <a:lnTo>
                    <a:pt x="174" y="205"/>
                  </a:lnTo>
                  <a:lnTo>
                    <a:pt x="174" y="205"/>
                  </a:lnTo>
                  <a:lnTo>
                    <a:pt x="174" y="207"/>
                  </a:lnTo>
                  <a:lnTo>
                    <a:pt x="174" y="207"/>
                  </a:lnTo>
                  <a:lnTo>
                    <a:pt x="174" y="207"/>
                  </a:lnTo>
                  <a:lnTo>
                    <a:pt x="176" y="207"/>
                  </a:lnTo>
                  <a:lnTo>
                    <a:pt x="176" y="207"/>
                  </a:lnTo>
                  <a:lnTo>
                    <a:pt x="176" y="207"/>
                  </a:lnTo>
                  <a:lnTo>
                    <a:pt x="174" y="205"/>
                  </a:lnTo>
                  <a:close/>
                  <a:moveTo>
                    <a:pt x="176" y="207"/>
                  </a:moveTo>
                  <a:lnTo>
                    <a:pt x="178" y="205"/>
                  </a:lnTo>
                  <a:lnTo>
                    <a:pt x="178" y="205"/>
                  </a:lnTo>
                  <a:lnTo>
                    <a:pt x="176" y="205"/>
                  </a:lnTo>
                  <a:lnTo>
                    <a:pt x="176" y="205"/>
                  </a:lnTo>
                  <a:lnTo>
                    <a:pt x="176" y="203"/>
                  </a:lnTo>
                  <a:lnTo>
                    <a:pt x="174" y="205"/>
                  </a:lnTo>
                  <a:lnTo>
                    <a:pt x="174" y="205"/>
                  </a:lnTo>
                  <a:lnTo>
                    <a:pt x="174" y="205"/>
                  </a:lnTo>
                  <a:lnTo>
                    <a:pt x="174" y="205"/>
                  </a:lnTo>
                  <a:lnTo>
                    <a:pt x="176" y="207"/>
                  </a:lnTo>
                  <a:close/>
                  <a:moveTo>
                    <a:pt x="137" y="149"/>
                  </a:moveTo>
                  <a:lnTo>
                    <a:pt x="137" y="149"/>
                  </a:lnTo>
                  <a:lnTo>
                    <a:pt x="139" y="151"/>
                  </a:lnTo>
                  <a:lnTo>
                    <a:pt x="143" y="153"/>
                  </a:lnTo>
                  <a:lnTo>
                    <a:pt x="147" y="153"/>
                  </a:lnTo>
                  <a:lnTo>
                    <a:pt x="149" y="151"/>
                  </a:lnTo>
                  <a:lnTo>
                    <a:pt x="149" y="151"/>
                  </a:lnTo>
                  <a:lnTo>
                    <a:pt x="152" y="149"/>
                  </a:lnTo>
                  <a:lnTo>
                    <a:pt x="152" y="145"/>
                  </a:lnTo>
                  <a:lnTo>
                    <a:pt x="152" y="142"/>
                  </a:lnTo>
                  <a:lnTo>
                    <a:pt x="152" y="140"/>
                  </a:lnTo>
                  <a:lnTo>
                    <a:pt x="152" y="140"/>
                  </a:lnTo>
                  <a:lnTo>
                    <a:pt x="150" y="136"/>
                  </a:lnTo>
                  <a:lnTo>
                    <a:pt x="147" y="136"/>
                  </a:lnTo>
                  <a:lnTo>
                    <a:pt x="143" y="136"/>
                  </a:lnTo>
                  <a:lnTo>
                    <a:pt x="139" y="136"/>
                  </a:lnTo>
                  <a:lnTo>
                    <a:pt x="139" y="136"/>
                  </a:lnTo>
                  <a:lnTo>
                    <a:pt x="137" y="140"/>
                  </a:lnTo>
                  <a:lnTo>
                    <a:pt x="135" y="142"/>
                  </a:lnTo>
                  <a:lnTo>
                    <a:pt x="135" y="145"/>
                  </a:lnTo>
                  <a:lnTo>
                    <a:pt x="137" y="149"/>
                  </a:lnTo>
                  <a:close/>
                  <a:moveTo>
                    <a:pt x="143" y="134"/>
                  </a:moveTo>
                  <a:lnTo>
                    <a:pt x="143" y="134"/>
                  </a:lnTo>
                  <a:lnTo>
                    <a:pt x="149" y="134"/>
                  </a:lnTo>
                  <a:lnTo>
                    <a:pt x="154" y="138"/>
                  </a:lnTo>
                  <a:lnTo>
                    <a:pt x="154" y="138"/>
                  </a:lnTo>
                  <a:lnTo>
                    <a:pt x="156" y="142"/>
                  </a:lnTo>
                  <a:lnTo>
                    <a:pt x="154" y="147"/>
                  </a:lnTo>
                  <a:lnTo>
                    <a:pt x="154" y="151"/>
                  </a:lnTo>
                  <a:lnTo>
                    <a:pt x="150" y="153"/>
                  </a:lnTo>
                  <a:lnTo>
                    <a:pt x="150" y="153"/>
                  </a:lnTo>
                  <a:lnTo>
                    <a:pt x="147" y="155"/>
                  </a:lnTo>
                  <a:lnTo>
                    <a:pt x="143" y="155"/>
                  </a:lnTo>
                  <a:lnTo>
                    <a:pt x="139" y="153"/>
                  </a:lnTo>
                  <a:lnTo>
                    <a:pt x="135" y="149"/>
                  </a:lnTo>
                  <a:lnTo>
                    <a:pt x="135" y="149"/>
                  </a:lnTo>
                  <a:lnTo>
                    <a:pt x="133" y="145"/>
                  </a:lnTo>
                  <a:lnTo>
                    <a:pt x="133" y="142"/>
                  </a:lnTo>
                  <a:lnTo>
                    <a:pt x="135" y="138"/>
                  </a:lnTo>
                  <a:lnTo>
                    <a:pt x="139" y="134"/>
                  </a:lnTo>
                  <a:lnTo>
                    <a:pt x="139" y="134"/>
                  </a:lnTo>
                  <a:lnTo>
                    <a:pt x="143" y="134"/>
                  </a:lnTo>
                  <a:lnTo>
                    <a:pt x="143" y="134"/>
                  </a:lnTo>
                  <a:lnTo>
                    <a:pt x="139" y="132"/>
                  </a:lnTo>
                  <a:lnTo>
                    <a:pt x="139" y="132"/>
                  </a:lnTo>
                  <a:lnTo>
                    <a:pt x="137" y="132"/>
                  </a:lnTo>
                  <a:lnTo>
                    <a:pt x="137" y="132"/>
                  </a:lnTo>
                  <a:lnTo>
                    <a:pt x="133" y="136"/>
                  </a:lnTo>
                  <a:lnTo>
                    <a:pt x="131" y="142"/>
                  </a:lnTo>
                  <a:lnTo>
                    <a:pt x="131" y="145"/>
                  </a:lnTo>
                  <a:lnTo>
                    <a:pt x="133" y="151"/>
                  </a:lnTo>
                  <a:lnTo>
                    <a:pt x="133" y="151"/>
                  </a:lnTo>
                  <a:lnTo>
                    <a:pt x="133" y="151"/>
                  </a:lnTo>
                  <a:lnTo>
                    <a:pt x="135" y="151"/>
                  </a:lnTo>
                  <a:lnTo>
                    <a:pt x="135" y="151"/>
                  </a:lnTo>
                  <a:lnTo>
                    <a:pt x="137" y="155"/>
                  </a:lnTo>
                  <a:lnTo>
                    <a:pt x="137" y="155"/>
                  </a:lnTo>
                  <a:lnTo>
                    <a:pt x="145" y="157"/>
                  </a:lnTo>
                  <a:lnTo>
                    <a:pt x="149" y="157"/>
                  </a:lnTo>
                  <a:lnTo>
                    <a:pt x="152" y="155"/>
                  </a:lnTo>
                  <a:lnTo>
                    <a:pt x="152" y="155"/>
                  </a:lnTo>
                  <a:lnTo>
                    <a:pt x="156" y="149"/>
                  </a:lnTo>
                  <a:lnTo>
                    <a:pt x="156" y="149"/>
                  </a:lnTo>
                  <a:lnTo>
                    <a:pt x="156" y="149"/>
                  </a:lnTo>
                  <a:lnTo>
                    <a:pt x="154" y="147"/>
                  </a:lnTo>
                  <a:lnTo>
                    <a:pt x="154" y="147"/>
                  </a:lnTo>
                  <a:lnTo>
                    <a:pt x="158" y="145"/>
                  </a:lnTo>
                  <a:lnTo>
                    <a:pt x="158" y="145"/>
                  </a:lnTo>
                  <a:lnTo>
                    <a:pt x="158" y="142"/>
                  </a:lnTo>
                  <a:lnTo>
                    <a:pt x="156" y="136"/>
                  </a:lnTo>
                  <a:lnTo>
                    <a:pt x="156" y="136"/>
                  </a:lnTo>
                  <a:lnTo>
                    <a:pt x="150" y="132"/>
                  </a:lnTo>
                  <a:lnTo>
                    <a:pt x="143" y="130"/>
                  </a:lnTo>
                  <a:lnTo>
                    <a:pt x="143" y="130"/>
                  </a:lnTo>
                  <a:lnTo>
                    <a:pt x="143" y="130"/>
                  </a:lnTo>
                  <a:lnTo>
                    <a:pt x="143" y="134"/>
                  </a:lnTo>
                  <a:close/>
                  <a:moveTo>
                    <a:pt x="143" y="134"/>
                  </a:moveTo>
                  <a:lnTo>
                    <a:pt x="143" y="134"/>
                  </a:lnTo>
                  <a:lnTo>
                    <a:pt x="143" y="134"/>
                  </a:lnTo>
                  <a:lnTo>
                    <a:pt x="143" y="130"/>
                  </a:lnTo>
                  <a:lnTo>
                    <a:pt x="143" y="130"/>
                  </a:lnTo>
                  <a:lnTo>
                    <a:pt x="143" y="130"/>
                  </a:lnTo>
                  <a:lnTo>
                    <a:pt x="143" y="130"/>
                  </a:lnTo>
                  <a:lnTo>
                    <a:pt x="139" y="132"/>
                  </a:lnTo>
                  <a:lnTo>
                    <a:pt x="139" y="132"/>
                  </a:lnTo>
                  <a:lnTo>
                    <a:pt x="143" y="134"/>
                  </a:lnTo>
                  <a:close/>
                  <a:moveTo>
                    <a:pt x="133" y="151"/>
                  </a:moveTo>
                  <a:lnTo>
                    <a:pt x="133" y="151"/>
                  </a:lnTo>
                  <a:lnTo>
                    <a:pt x="137" y="155"/>
                  </a:lnTo>
                  <a:lnTo>
                    <a:pt x="137" y="155"/>
                  </a:lnTo>
                  <a:lnTo>
                    <a:pt x="135" y="151"/>
                  </a:lnTo>
                  <a:lnTo>
                    <a:pt x="133" y="151"/>
                  </a:lnTo>
                  <a:close/>
                  <a:moveTo>
                    <a:pt x="156" y="149"/>
                  </a:moveTo>
                  <a:lnTo>
                    <a:pt x="156" y="149"/>
                  </a:lnTo>
                  <a:lnTo>
                    <a:pt x="156" y="149"/>
                  </a:lnTo>
                  <a:lnTo>
                    <a:pt x="156" y="149"/>
                  </a:lnTo>
                  <a:lnTo>
                    <a:pt x="158" y="145"/>
                  </a:lnTo>
                  <a:lnTo>
                    <a:pt x="158" y="145"/>
                  </a:lnTo>
                  <a:lnTo>
                    <a:pt x="154" y="147"/>
                  </a:lnTo>
                  <a:lnTo>
                    <a:pt x="156" y="149"/>
                  </a:lnTo>
                  <a:close/>
                  <a:moveTo>
                    <a:pt x="145" y="271"/>
                  </a:moveTo>
                  <a:lnTo>
                    <a:pt x="145" y="271"/>
                  </a:lnTo>
                  <a:lnTo>
                    <a:pt x="131" y="271"/>
                  </a:lnTo>
                  <a:lnTo>
                    <a:pt x="120" y="269"/>
                  </a:lnTo>
                  <a:lnTo>
                    <a:pt x="108" y="265"/>
                  </a:lnTo>
                  <a:lnTo>
                    <a:pt x="96" y="262"/>
                  </a:lnTo>
                  <a:lnTo>
                    <a:pt x="85" y="256"/>
                  </a:lnTo>
                  <a:lnTo>
                    <a:pt x="75" y="250"/>
                  </a:lnTo>
                  <a:lnTo>
                    <a:pt x="65" y="242"/>
                  </a:lnTo>
                  <a:lnTo>
                    <a:pt x="56" y="234"/>
                  </a:lnTo>
                  <a:lnTo>
                    <a:pt x="48" y="225"/>
                  </a:lnTo>
                  <a:lnTo>
                    <a:pt x="40" y="215"/>
                  </a:lnTo>
                  <a:lnTo>
                    <a:pt x="34" y="205"/>
                  </a:lnTo>
                  <a:lnTo>
                    <a:pt x="29" y="194"/>
                  </a:lnTo>
                  <a:lnTo>
                    <a:pt x="25" y="182"/>
                  </a:lnTo>
                  <a:lnTo>
                    <a:pt x="21" y="171"/>
                  </a:lnTo>
                  <a:lnTo>
                    <a:pt x="19" y="157"/>
                  </a:lnTo>
                  <a:lnTo>
                    <a:pt x="19" y="145"/>
                  </a:lnTo>
                  <a:lnTo>
                    <a:pt x="19" y="145"/>
                  </a:lnTo>
                  <a:lnTo>
                    <a:pt x="19" y="132"/>
                  </a:lnTo>
                  <a:lnTo>
                    <a:pt x="21" y="118"/>
                  </a:lnTo>
                  <a:lnTo>
                    <a:pt x="25" y="107"/>
                  </a:lnTo>
                  <a:lnTo>
                    <a:pt x="29" y="95"/>
                  </a:lnTo>
                  <a:lnTo>
                    <a:pt x="34" y="84"/>
                  </a:lnTo>
                  <a:lnTo>
                    <a:pt x="40" y="74"/>
                  </a:lnTo>
                  <a:lnTo>
                    <a:pt x="48" y="64"/>
                  </a:lnTo>
                  <a:lnTo>
                    <a:pt x="56" y="54"/>
                  </a:lnTo>
                  <a:lnTo>
                    <a:pt x="65" y="47"/>
                  </a:lnTo>
                  <a:lnTo>
                    <a:pt x="75" y="39"/>
                  </a:lnTo>
                  <a:lnTo>
                    <a:pt x="85" y="33"/>
                  </a:lnTo>
                  <a:lnTo>
                    <a:pt x="96" y="27"/>
                  </a:lnTo>
                  <a:lnTo>
                    <a:pt x="108" y="24"/>
                  </a:lnTo>
                  <a:lnTo>
                    <a:pt x="120" y="22"/>
                  </a:lnTo>
                  <a:lnTo>
                    <a:pt x="131" y="20"/>
                  </a:lnTo>
                  <a:lnTo>
                    <a:pt x="145" y="18"/>
                  </a:lnTo>
                  <a:lnTo>
                    <a:pt x="145" y="18"/>
                  </a:lnTo>
                  <a:lnTo>
                    <a:pt x="158" y="20"/>
                  </a:lnTo>
                  <a:lnTo>
                    <a:pt x="170" y="22"/>
                  </a:lnTo>
                  <a:lnTo>
                    <a:pt x="181" y="24"/>
                  </a:lnTo>
                  <a:lnTo>
                    <a:pt x="193" y="27"/>
                  </a:lnTo>
                  <a:lnTo>
                    <a:pt x="205" y="33"/>
                  </a:lnTo>
                  <a:lnTo>
                    <a:pt x="216" y="39"/>
                  </a:lnTo>
                  <a:lnTo>
                    <a:pt x="226" y="47"/>
                  </a:lnTo>
                  <a:lnTo>
                    <a:pt x="234" y="54"/>
                  </a:lnTo>
                  <a:lnTo>
                    <a:pt x="241" y="64"/>
                  </a:lnTo>
                  <a:lnTo>
                    <a:pt x="249" y="74"/>
                  </a:lnTo>
                  <a:lnTo>
                    <a:pt x="257" y="84"/>
                  </a:lnTo>
                  <a:lnTo>
                    <a:pt x="261" y="95"/>
                  </a:lnTo>
                  <a:lnTo>
                    <a:pt x="265" y="107"/>
                  </a:lnTo>
                  <a:lnTo>
                    <a:pt x="268" y="118"/>
                  </a:lnTo>
                  <a:lnTo>
                    <a:pt x="270" y="132"/>
                  </a:lnTo>
                  <a:lnTo>
                    <a:pt x="270" y="145"/>
                  </a:lnTo>
                  <a:lnTo>
                    <a:pt x="270" y="145"/>
                  </a:lnTo>
                  <a:lnTo>
                    <a:pt x="270" y="157"/>
                  </a:lnTo>
                  <a:lnTo>
                    <a:pt x="268" y="171"/>
                  </a:lnTo>
                  <a:lnTo>
                    <a:pt x="265" y="182"/>
                  </a:lnTo>
                  <a:lnTo>
                    <a:pt x="261" y="194"/>
                  </a:lnTo>
                  <a:lnTo>
                    <a:pt x="257" y="205"/>
                  </a:lnTo>
                  <a:lnTo>
                    <a:pt x="249" y="215"/>
                  </a:lnTo>
                  <a:lnTo>
                    <a:pt x="241" y="225"/>
                  </a:lnTo>
                  <a:lnTo>
                    <a:pt x="234" y="234"/>
                  </a:lnTo>
                  <a:lnTo>
                    <a:pt x="226" y="242"/>
                  </a:lnTo>
                  <a:lnTo>
                    <a:pt x="216" y="250"/>
                  </a:lnTo>
                  <a:lnTo>
                    <a:pt x="205" y="256"/>
                  </a:lnTo>
                  <a:lnTo>
                    <a:pt x="193" y="262"/>
                  </a:lnTo>
                  <a:lnTo>
                    <a:pt x="181" y="265"/>
                  </a:lnTo>
                  <a:lnTo>
                    <a:pt x="170" y="269"/>
                  </a:lnTo>
                  <a:lnTo>
                    <a:pt x="158" y="271"/>
                  </a:lnTo>
                  <a:lnTo>
                    <a:pt x="145" y="271"/>
                  </a:lnTo>
                  <a:close/>
                  <a:moveTo>
                    <a:pt x="145" y="289"/>
                  </a:moveTo>
                  <a:lnTo>
                    <a:pt x="145" y="289"/>
                  </a:lnTo>
                  <a:lnTo>
                    <a:pt x="160" y="289"/>
                  </a:lnTo>
                  <a:lnTo>
                    <a:pt x="174" y="287"/>
                  </a:lnTo>
                  <a:lnTo>
                    <a:pt x="187" y="283"/>
                  </a:lnTo>
                  <a:lnTo>
                    <a:pt x="201" y="279"/>
                  </a:lnTo>
                  <a:lnTo>
                    <a:pt x="214" y="271"/>
                  </a:lnTo>
                  <a:lnTo>
                    <a:pt x="226" y="265"/>
                  </a:lnTo>
                  <a:lnTo>
                    <a:pt x="238" y="256"/>
                  </a:lnTo>
                  <a:lnTo>
                    <a:pt x="247" y="246"/>
                  </a:lnTo>
                  <a:lnTo>
                    <a:pt x="257" y="236"/>
                  </a:lnTo>
                  <a:lnTo>
                    <a:pt x="265" y="225"/>
                  </a:lnTo>
                  <a:lnTo>
                    <a:pt x="272" y="213"/>
                  </a:lnTo>
                  <a:lnTo>
                    <a:pt x="278" y="202"/>
                  </a:lnTo>
                  <a:lnTo>
                    <a:pt x="284" y="188"/>
                  </a:lnTo>
                  <a:lnTo>
                    <a:pt x="286" y="174"/>
                  </a:lnTo>
                  <a:lnTo>
                    <a:pt x="290" y="159"/>
                  </a:lnTo>
                  <a:lnTo>
                    <a:pt x="290" y="145"/>
                  </a:lnTo>
                  <a:lnTo>
                    <a:pt x="290" y="145"/>
                  </a:lnTo>
                  <a:lnTo>
                    <a:pt x="290" y="130"/>
                  </a:lnTo>
                  <a:lnTo>
                    <a:pt x="286" y="114"/>
                  </a:lnTo>
                  <a:lnTo>
                    <a:pt x="284" y="101"/>
                  </a:lnTo>
                  <a:lnTo>
                    <a:pt x="278" y="87"/>
                  </a:lnTo>
                  <a:lnTo>
                    <a:pt x="272" y="76"/>
                  </a:lnTo>
                  <a:lnTo>
                    <a:pt x="265" y="64"/>
                  </a:lnTo>
                  <a:lnTo>
                    <a:pt x="257" y="53"/>
                  </a:lnTo>
                  <a:lnTo>
                    <a:pt x="247" y="43"/>
                  </a:lnTo>
                  <a:lnTo>
                    <a:pt x="238" y="33"/>
                  </a:lnTo>
                  <a:lnTo>
                    <a:pt x="226" y="24"/>
                  </a:lnTo>
                  <a:lnTo>
                    <a:pt x="214" y="18"/>
                  </a:lnTo>
                  <a:lnTo>
                    <a:pt x="201" y="12"/>
                  </a:lnTo>
                  <a:lnTo>
                    <a:pt x="187" y="6"/>
                  </a:lnTo>
                  <a:lnTo>
                    <a:pt x="174" y="2"/>
                  </a:lnTo>
                  <a:lnTo>
                    <a:pt x="160" y="0"/>
                  </a:lnTo>
                  <a:lnTo>
                    <a:pt x="145" y="0"/>
                  </a:lnTo>
                  <a:lnTo>
                    <a:pt x="145" y="0"/>
                  </a:lnTo>
                  <a:lnTo>
                    <a:pt x="129" y="0"/>
                  </a:lnTo>
                  <a:lnTo>
                    <a:pt x="116" y="2"/>
                  </a:lnTo>
                  <a:lnTo>
                    <a:pt x="102" y="6"/>
                  </a:lnTo>
                  <a:lnTo>
                    <a:pt x="89" y="12"/>
                  </a:lnTo>
                  <a:lnTo>
                    <a:pt x="75" y="18"/>
                  </a:lnTo>
                  <a:lnTo>
                    <a:pt x="63" y="24"/>
                  </a:lnTo>
                  <a:lnTo>
                    <a:pt x="52" y="33"/>
                  </a:lnTo>
                  <a:lnTo>
                    <a:pt x="42" y="43"/>
                  </a:lnTo>
                  <a:lnTo>
                    <a:pt x="32" y="53"/>
                  </a:lnTo>
                  <a:lnTo>
                    <a:pt x="25" y="64"/>
                  </a:lnTo>
                  <a:lnTo>
                    <a:pt x="17" y="76"/>
                  </a:lnTo>
                  <a:lnTo>
                    <a:pt x="11" y="87"/>
                  </a:lnTo>
                  <a:lnTo>
                    <a:pt x="7" y="101"/>
                  </a:lnTo>
                  <a:lnTo>
                    <a:pt x="3" y="114"/>
                  </a:lnTo>
                  <a:lnTo>
                    <a:pt x="2" y="130"/>
                  </a:lnTo>
                  <a:lnTo>
                    <a:pt x="0" y="145"/>
                  </a:lnTo>
                  <a:lnTo>
                    <a:pt x="0" y="145"/>
                  </a:lnTo>
                  <a:lnTo>
                    <a:pt x="2" y="159"/>
                  </a:lnTo>
                  <a:lnTo>
                    <a:pt x="3" y="174"/>
                  </a:lnTo>
                  <a:lnTo>
                    <a:pt x="7" y="188"/>
                  </a:lnTo>
                  <a:lnTo>
                    <a:pt x="11" y="202"/>
                  </a:lnTo>
                  <a:lnTo>
                    <a:pt x="17" y="213"/>
                  </a:lnTo>
                  <a:lnTo>
                    <a:pt x="25" y="225"/>
                  </a:lnTo>
                  <a:lnTo>
                    <a:pt x="32" y="236"/>
                  </a:lnTo>
                  <a:lnTo>
                    <a:pt x="42" y="246"/>
                  </a:lnTo>
                  <a:lnTo>
                    <a:pt x="52" y="256"/>
                  </a:lnTo>
                  <a:lnTo>
                    <a:pt x="63" y="265"/>
                  </a:lnTo>
                  <a:lnTo>
                    <a:pt x="75" y="271"/>
                  </a:lnTo>
                  <a:lnTo>
                    <a:pt x="89" y="279"/>
                  </a:lnTo>
                  <a:lnTo>
                    <a:pt x="102" y="283"/>
                  </a:lnTo>
                  <a:lnTo>
                    <a:pt x="116" y="287"/>
                  </a:lnTo>
                  <a:lnTo>
                    <a:pt x="129" y="289"/>
                  </a:lnTo>
                  <a:lnTo>
                    <a:pt x="145" y="289"/>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7" name="Donut 4"/>
            <p:cNvSpPr/>
            <p:nvPr/>
          </p:nvSpPr>
          <p:spPr bwMode="auto">
            <a:xfrm>
              <a:off x="7987541" y="2846768"/>
              <a:ext cx="541537" cy="548471"/>
            </a:xfrm>
            <a:custGeom>
              <a:avLst/>
              <a:gdLst/>
              <a:ahLst/>
              <a:cxnLst/>
              <a:rect l="l" t="t" r="r" b="b"/>
              <a:pathLst>
                <a:path w="3847519" h="3896767">
                  <a:moveTo>
                    <a:pt x="1225516" y="776187"/>
                  </a:moveTo>
                  <a:lnTo>
                    <a:pt x="1622331" y="776187"/>
                  </a:lnTo>
                  <a:lnTo>
                    <a:pt x="1622331" y="1224760"/>
                  </a:lnTo>
                  <a:lnTo>
                    <a:pt x="2070905" y="1224760"/>
                  </a:lnTo>
                  <a:lnTo>
                    <a:pt x="2070905" y="1621575"/>
                  </a:lnTo>
                  <a:lnTo>
                    <a:pt x="1622331" y="1621575"/>
                  </a:lnTo>
                  <a:lnTo>
                    <a:pt x="1622331" y="2070149"/>
                  </a:lnTo>
                  <a:lnTo>
                    <a:pt x="1225516" y="2070149"/>
                  </a:lnTo>
                  <a:lnTo>
                    <a:pt x="1225516" y="1621575"/>
                  </a:lnTo>
                  <a:lnTo>
                    <a:pt x="776943" y="1621575"/>
                  </a:lnTo>
                  <a:lnTo>
                    <a:pt x="776943" y="1224760"/>
                  </a:lnTo>
                  <a:lnTo>
                    <a:pt x="1225516" y="1224760"/>
                  </a:lnTo>
                  <a:close/>
                  <a:moveTo>
                    <a:pt x="1423924" y="241540"/>
                  </a:moveTo>
                  <a:cubicBezTo>
                    <a:pt x="770911" y="241540"/>
                    <a:pt x="241540" y="770573"/>
                    <a:pt x="241540" y="1423168"/>
                  </a:cubicBezTo>
                  <a:cubicBezTo>
                    <a:pt x="241540" y="2075763"/>
                    <a:pt x="770911" y="2604796"/>
                    <a:pt x="1423924" y="2604796"/>
                  </a:cubicBezTo>
                  <a:cubicBezTo>
                    <a:pt x="2076937" y="2604796"/>
                    <a:pt x="2606308" y="2075763"/>
                    <a:pt x="2606308" y="1423168"/>
                  </a:cubicBezTo>
                  <a:cubicBezTo>
                    <a:pt x="2606308" y="770573"/>
                    <a:pt x="2076937" y="241540"/>
                    <a:pt x="1423924" y="241540"/>
                  </a:cubicBezTo>
                  <a:close/>
                  <a:moveTo>
                    <a:pt x="1423924" y="0"/>
                  </a:moveTo>
                  <a:cubicBezTo>
                    <a:pt x="2210336" y="0"/>
                    <a:pt x="2847848" y="637174"/>
                    <a:pt x="2847848" y="1423168"/>
                  </a:cubicBezTo>
                  <a:cubicBezTo>
                    <a:pt x="2847848" y="1745525"/>
                    <a:pt x="2740616" y="2042851"/>
                    <a:pt x="2558572" y="2280480"/>
                  </a:cubicBezTo>
                  <a:lnTo>
                    <a:pt x="2641865" y="2366402"/>
                  </a:lnTo>
                  <a:lnTo>
                    <a:pt x="2819718" y="2318519"/>
                  </a:lnTo>
                  <a:lnTo>
                    <a:pt x="3838893" y="3335312"/>
                  </a:lnTo>
                  <a:cubicBezTo>
                    <a:pt x="3851592" y="3503588"/>
                    <a:pt x="3921443" y="3983806"/>
                    <a:pt x="3291205" y="3883000"/>
                  </a:cubicBezTo>
                  <a:lnTo>
                    <a:pt x="2262505" y="2882875"/>
                  </a:lnTo>
                  <a:lnTo>
                    <a:pt x="2321688" y="2681654"/>
                  </a:lnTo>
                  <a:lnTo>
                    <a:pt x="2221732" y="2602027"/>
                  </a:lnTo>
                  <a:cubicBezTo>
                    <a:pt x="1994188" y="2756277"/>
                    <a:pt x="1719579" y="2846336"/>
                    <a:pt x="1423924" y="2846336"/>
                  </a:cubicBezTo>
                  <a:cubicBezTo>
                    <a:pt x="637512" y="2846336"/>
                    <a:pt x="0" y="2209162"/>
                    <a:pt x="0" y="1423168"/>
                  </a:cubicBezTo>
                  <a:cubicBezTo>
                    <a:pt x="0" y="637174"/>
                    <a:pt x="637512" y="0"/>
                    <a:pt x="1423924"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111"/>
            <p:cNvSpPr/>
            <p:nvPr/>
          </p:nvSpPr>
          <p:spPr bwMode="auto">
            <a:xfrm>
              <a:off x="7408915" y="3861815"/>
              <a:ext cx="321474" cy="579312"/>
            </a:xfrm>
            <a:custGeom>
              <a:avLst/>
              <a:gdLst>
                <a:gd name="connsiteX0" fmla="*/ 1469119 w 3408136"/>
                <a:gd name="connsiteY0" fmla="*/ 5547323 h 6141667"/>
                <a:gd name="connsiteX1" fmla="*/ 1418318 w 3408136"/>
                <a:gd name="connsiteY1" fmla="*/ 5598124 h 6141667"/>
                <a:gd name="connsiteX2" fmla="*/ 1418318 w 3408136"/>
                <a:gd name="connsiteY2" fmla="*/ 5801322 h 6141667"/>
                <a:gd name="connsiteX3" fmla="*/ 1469119 w 3408136"/>
                <a:gd name="connsiteY3" fmla="*/ 5852123 h 6141667"/>
                <a:gd name="connsiteX4" fmla="*/ 1939017 w 3408136"/>
                <a:gd name="connsiteY4" fmla="*/ 5852123 h 6141667"/>
                <a:gd name="connsiteX5" fmla="*/ 1989818 w 3408136"/>
                <a:gd name="connsiteY5" fmla="*/ 5801322 h 6141667"/>
                <a:gd name="connsiteX6" fmla="*/ 1989818 w 3408136"/>
                <a:gd name="connsiteY6" fmla="*/ 5598124 h 6141667"/>
                <a:gd name="connsiteX7" fmla="*/ 1939017 w 3408136"/>
                <a:gd name="connsiteY7" fmla="*/ 5547323 h 6141667"/>
                <a:gd name="connsiteX8" fmla="*/ 241826 w 3408136"/>
                <a:gd name="connsiteY8" fmla="*/ 368599 h 6141667"/>
                <a:gd name="connsiteX9" fmla="*/ 210796 w 3408136"/>
                <a:gd name="connsiteY9" fmla="*/ 399629 h 6141667"/>
                <a:gd name="connsiteX10" fmla="*/ 210796 w 3408136"/>
                <a:gd name="connsiteY10" fmla="*/ 5376294 h 6141667"/>
                <a:gd name="connsiteX11" fmla="*/ 241826 w 3408136"/>
                <a:gd name="connsiteY11" fmla="*/ 5407324 h 6141667"/>
                <a:gd name="connsiteX12" fmla="*/ 3166310 w 3408136"/>
                <a:gd name="connsiteY12" fmla="*/ 5407324 h 6141667"/>
                <a:gd name="connsiteX13" fmla="*/ 3197340 w 3408136"/>
                <a:gd name="connsiteY13" fmla="*/ 5376294 h 6141667"/>
                <a:gd name="connsiteX14" fmla="*/ 3197340 w 3408136"/>
                <a:gd name="connsiteY14" fmla="*/ 399629 h 6141667"/>
                <a:gd name="connsiteX15" fmla="*/ 3166310 w 3408136"/>
                <a:gd name="connsiteY15" fmla="*/ 368599 h 6141667"/>
                <a:gd name="connsiteX16" fmla="*/ 1469572 w 3408136"/>
                <a:gd name="connsiteY16" fmla="*/ 159049 h 6141667"/>
                <a:gd name="connsiteX17" fmla="*/ 1456872 w 3408136"/>
                <a:gd name="connsiteY17" fmla="*/ 171749 h 6141667"/>
                <a:gd name="connsiteX18" fmla="*/ 1456872 w 3408136"/>
                <a:gd name="connsiteY18" fmla="*/ 222549 h 6141667"/>
                <a:gd name="connsiteX19" fmla="*/ 1469572 w 3408136"/>
                <a:gd name="connsiteY19" fmla="*/ 235249 h 6141667"/>
                <a:gd name="connsiteX20" fmla="*/ 1938565 w 3408136"/>
                <a:gd name="connsiteY20" fmla="*/ 235249 h 6141667"/>
                <a:gd name="connsiteX21" fmla="*/ 1951265 w 3408136"/>
                <a:gd name="connsiteY21" fmla="*/ 222549 h 6141667"/>
                <a:gd name="connsiteX22" fmla="*/ 1951265 w 3408136"/>
                <a:gd name="connsiteY22" fmla="*/ 171749 h 6141667"/>
                <a:gd name="connsiteX23" fmla="*/ 1938565 w 3408136"/>
                <a:gd name="connsiteY23" fmla="*/ 159049 h 6141667"/>
                <a:gd name="connsiteX24" fmla="*/ 2750911 w 3408136"/>
                <a:gd name="connsiteY24" fmla="*/ 111424 h 6141667"/>
                <a:gd name="connsiteX25" fmla="*/ 2674711 w 3408136"/>
                <a:gd name="connsiteY25" fmla="*/ 187624 h 6141667"/>
                <a:gd name="connsiteX26" fmla="*/ 2750911 w 3408136"/>
                <a:gd name="connsiteY26" fmla="*/ 263824 h 6141667"/>
                <a:gd name="connsiteX27" fmla="*/ 2827111 w 3408136"/>
                <a:gd name="connsiteY27" fmla="*/ 187624 h 6141667"/>
                <a:gd name="connsiteX28" fmla="*/ 2750911 w 3408136"/>
                <a:gd name="connsiteY28" fmla="*/ 111424 h 6141667"/>
                <a:gd name="connsiteX29" fmla="*/ 185710 w 3408136"/>
                <a:gd name="connsiteY29" fmla="*/ 0 h 6141667"/>
                <a:gd name="connsiteX30" fmla="*/ 3222426 w 3408136"/>
                <a:gd name="connsiteY30" fmla="*/ 0 h 6141667"/>
                <a:gd name="connsiteX31" fmla="*/ 3408136 w 3408136"/>
                <a:gd name="connsiteY31" fmla="*/ 174144 h 6141667"/>
                <a:gd name="connsiteX32" fmla="*/ 3408136 w 3408136"/>
                <a:gd name="connsiteY32" fmla="*/ 5967524 h 6141667"/>
                <a:gd name="connsiteX33" fmla="*/ 3222426 w 3408136"/>
                <a:gd name="connsiteY33" fmla="*/ 6141667 h 6141667"/>
                <a:gd name="connsiteX34" fmla="*/ 185710 w 3408136"/>
                <a:gd name="connsiteY34" fmla="*/ 6141667 h 6141667"/>
                <a:gd name="connsiteX35" fmla="*/ 0 w 3408136"/>
                <a:gd name="connsiteY35" fmla="*/ 5967524 h 6141667"/>
                <a:gd name="connsiteX36" fmla="*/ 0 w 3408136"/>
                <a:gd name="connsiteY36" fmla="*/ 174144 h 6141667"/>
                <a:gd name="connsiteX37" fmla="*/ 185710 w 3408136"/>
                <a:gd name="connsiteY37" fmla="*/ 0 h 614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408136" h="6141667">
                  <a:moveTo>
                    <a:pt x="1469119" y="5547323"/>
                  </a:moveTo>
                  <a:cubicBezTo>
                    <a:pt x="1441062" y="5547323"/>
                    <a:pt x="1418318" y="5570067"/>
                    <a:pt x="1418318" y="5598124"/>
                  </a:cubicBezTo>
                  <a:lnTo>
                    <a:pt x="1418318" y="5801322"/>
                  </a:lnTo>
                  <a:cubicBezTo>
                    <a:pt x="1418318" y="5829379"/>
                    <a:pt x="1441062" y="5852123"/>
                    <a:pt x="1469119" y="5852123"/>
                  </a:cubicBezTo>
                  <a:lnTo>
                    <a:pt x="1939017" y="5852123"/>
                  </a:lnTo>
                  <a:cubicBezTo>
                    <a:pt x="1967074" y="5852123"/>
                    <a:pt x="1989818" y="5829379"/>
                    <a:pt x="1989818" y="5801322"/>
                  </a:cubicBezTo>
                  <a:lnTo>
                    <a:pt x="1989818" y="5598124"/>
                  </a:lnTo>
                  <a:cubicBezTo>
                    <a:pt x="1989818" y="5570067"/>
                    <a:pt x="1967074" y="5547323"/>
                    <a:pt x="1939017" y="5547323"/>
                  </a:cubicBezTo>
                  <a:close/>
                  <a:moveTo>
                    <a:pt x="241826" y="368599"/>
                  </a:moveTo>
                  <a:cubicBezTo>
                    <a:pt x="224689" y="368599"/>
                    <a:pt x="210796" y="382492"/>
                    <a:pt x="210796" y="399629"/>
                  </a:cubicBezTo>
                  <a:lnTo>
                    <a:pt x="210796" y="5376294"/>
                  </a:lnTo>
                  <a:cubicBezTo>
                    <a:pt x="210796" y="5393431"/>
                    <a:pt x="224689" y="5407324"/>
                    <a:pt x="241826" y="5407324"/>
                  </a:cubicBezTo>
                  <a:lnTo>
                    <a:pt x="3166310" y="5407324"/>
                  </a:lnTo>
                  <a:cubicBezTo>
                    <a:pt x="3183447" y="5407324"/>
                    <a:pt x="3197340" y="5393431"/>
                    <a:pt x="3197340" y="5376294"/>
                  </a:cubicBezTo>
                  <a:lnTo>
                    <a:pt x="3197340" y="399629"/>
                  </a:lnTo>
                  <a:cubicBezTo>
                    <a:pt x="3197340" y="382492"/>
                    <a:pt x="3183447" y="368599"/>
                    <a:pt x="3166310" y="368599"/>
                  </a:cubicBezTo>
                  <a:close/>
                  <a:moveTo>
                    <a:pt x="1469572" y="159049"/>
                  </a:moveTo>
                  <a:cubicBezTo>
                    <a:pt x="1462558" y="159049"/>
                    <a:pt x="1456872" y="164735"/>
                    <a:pt x="1456872" y="171749"/>
                  </a:cubicBezTo>
                  <a:lnTo>
                    <a:pt x="1456872" y="222549"/>
                  </a:lnTo>
                  <a:cubicBezTo>
                    <a:pt x="1456872" y="229563"/>
                    <a:pt x="1462558" y="235249"/>
                    <a:pt x="1469572" y="235249"/>
                  </a:cubicBezTo>
                  <a:lnTo>
                    <a:pt x="1938565" y="235249"/>
                  </a:lnTo>
                  <a:cubicBezTo>
                    <a:pt x="1945579" y="235249"/>
                    <a:pt x="1951265" y="229563"/>
                    <a:pt x="1951265" y="222549"/>
                  </a:cubicBezTo>
                  <a:lnTo>
                    <a:pt x="1951265" y="171749"/>
                  </a:lnTo>
                  <a:cubicBezTo>
                    <a:pt x="1951265" y="164735"/>
                    <a:pt x="1945579" y="159049"/>
                    <a:pt x="1938565" y="159049"/>
                  </a:cubicBezTo>
                  <a:close/>
                  <a:moveTo>
                    <a:pt x="2750911" y="111424"/>
                  </a:moveTo>
                  <a:cubicBezTo>
                    <a:pt x="2708827" y="111424"/>
                    <a:pt x="2674711" y="145540"/>
                    <a:pt x="2674711" y="187624"/>
                  </a:cubicBezTo>
                  <a:cubicBezTo>
                    <a:pt x="2674711" y="229708"/>
                    <a:pt x="2708827" y="263824"/>
                    <a:pt x="2750911" y="263824"/>
                  </a:cubicBezTo>
                  <a:cubicBezTo>
                    <a:pt x="2792995" y="263824"/>
                    <a:pt x="2827111" y="229708"/>
                    <a:pt x="2827111" y="187624"/>
                  </a:cubicBezTo>
                  <a:cubicBezTo>
                    <a:pt x="2827111" y="145540"/>
                    <a:pt x="2792995" y="111424"/>
                    <a:pt x="2750911" y="111424"/>
                  </a:cubicBezTo>
                  <a:close/>
                  <a:moveTo>
                    <a:pt x="185710" y="0"/>
                  </a:moveTo>
                  <a:lnTo>
                    <a:pt x="3222426" y="0"/>
                  </a:lnTo>
                  <a:cubicBezTo>
                    <a:pt x="3324990" y="0"/>
                    <a:pt x="3408136" y="77968"/>
                    <a:pt x="3408136" y="174144"/>
                  </a:cubicBezTo>
                  <a:lnTo>
                    <a:pt x="3408136" y="5967524"/>
                  </a:lnTo>
                  <a:cubicBezTo>
                    <a:pt x="3408136" y="6063700"/>
                    <a:pt x="3324990" y="6141667"/>
                    <a:pt x="3222426" y="6141667"/>
                  </a:cubicBezTo>
                  <a:lnTo>
                    <a:pt x="185710" y="6141667"/>
                  </a:lnTo>
                  <a:cubicBezTo>
                    <a:pt x="83146" y="6141667"/>
                    <a:pt x="0" y="6063700"/>
                    <a:pt x="0" y="5967524"/>
                  </a:cubicBezTo>
                  <a:lnTo>
                    <a:pt x="0" y="174144"/>
                  </a:lnTo>
                  <a:cubicBezTo>
                    <a:pt x="0" y="77968"/>
                    <a:pt x="83146" y="0"/>
                    <a:pt x="185710" y="0"/>
                  </a:cubicBezTo>
                  <a:close/>
                </a:path>
              </a:pathLst>
            </a:custGeom>
            <a:solidFill>
              <a:srgbClr val="00BCF2"/>
            </a:solidFill>
            <a:ln>
              <a:noFill/>
            </a:ln>
            <a:extLst/>
          </p:spPr>
          <p:txBody>
            <a:bodyPr vert="horz" wrap="square" lIns="89630" tIns="44814" rIns="89630" bIns="44814" numCol="1" rtlCol="0" anchor="t" anchorCtr="0" compatLnSpc="1">
              <a:prstTxWarp prst="textNoShape">
                <a:avLst/>
              </a:prstTxWarp>
              <a:noAutofit/>
            </a:bodyPr>
            <a:lstStyle/>
            <a:p>
              <a:pPr marL="0" marR="0" lvl="0" indent="0" algn="ctr" defTabSz="896214" rtl="0" eaLnBrk="1" fontAlgn="auto" latinLnBrk="1"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rgbClr val="FFFFFF"/>
                </a:solidFill>
                <a:effectLst/>
                <a:uLnTx/>
                <a:uFillTx/>
                <a:latin typeface="Segoe UI"/>
                <a:ea typeface="+mn-ea"/>
                <a:cs typeface="+mn-cs"/>
              </a:endParaRPr>
            </a:p>
          </p:txBody>
        </p:sp>
        <p:sp>
          <p:nvSpPr>
            <p:cNvPr id="39" name="Rectangle 51"/>
            <p:cNvSpPr/>
            <p:nvPr/>
          </p:nvSpPr>
          <p:spPr>
            <a:xfrm>
              <a:off x="8293106" y="124517"/>
              <a:ext cx="325044" cy="579229"/>
            </a:xfrm>
            <a:custGeom>
              <a:avLst/>
              <a:gdLst/>
              <a:ahLst/>
              <a:cxnLst/>
              <a:rect l="l" t="t" r="r" b="b"/>
              <a:pathLst>
                <a:path w="407194" h="725617">
                  <a:moveTo>
                    <a:pt x="203598" y="563693"/>
                  </a:moveTo>
                  <a:cubicBezTo>
                    <a:pt x="190973" y="563693"/>
                    <a:pt x="180738" y="573928"/>
                    <a:pt x="180738" y="586553"/>
                  </a:cubicBezTo>
                  <a:cubicBezTo>
                    <a:pt x="180738" y="599178"/>
                    <a:pt x="190973" y="609413"/>
                    <a:pt x="203598" y="609413"/>
                  </a:cubicBezTo>
                  <a:cubicBezTo>
                    <a:pt x="216223" y="609413"/>
                    <a:pt x="226458" y="599178"/>
                    <a:pt x="226458" y="586553"/>
                  </a:cubicBezTo>
                  <a:cubicBezTo>
                    <a:pt x="226458" y="573928"/>
                    <a:pt x="216223" y="563693"/>
                    <a:pt x="203598" y="563693"/>
                  </a:cubicBezTo>
                  <a:close/>
                  <a:moveTo>
                    <a:pt x="203599" y="462791"/>
                  </a:moveTo>
                  <a:cubicBezTo>
                    <a:pt x="179926" y="462791"/>
                    <a:pt x="160736" y="481981"/>
                    <a:pt x="160736" y="505654"/>
                  </a:cubicBezTo>
                  <a:cubicBezTo>
                    <a:pt x="160736" y="529327"/>
                    <a:pt x="179926" y="548517"/>
                    <a:pt x="203599" y="548517"/>
                  </a:cubicBezTo>
                  <a:cubicBezTo>
                    <a:pt x="227272" y="548517"/>
                    <a:pt x="246462" y="529327"/>
                    <a:pt x="246462" y="505654"/>
                  </a:cubicBezTo>
                  <a:cubicBezTo>
                    <a:pt x="246462" y="481981"/>
                    <a:pt x="227272" y="462791"/>
                    <a:pt x="203599" y="462791"/>
                  </a:cubicBezTo>
                  <a:close/>
                  <a:moveTo>
                    <a:pt x="285109" y="203235"/>
                  </a:moveTo>
                  <a:lnTo>
                    <a:pt x="285109" y="415166"/>
                  </a:lnTo>
                  <a:lnTo>
                    <a:pt x="312541" y="415166"/>
                  </a:lnTo>
                  <a:lnTo>
                    <a:pt x="312541" y="203235"/>
                  </a:lnTo>
                  <a:close/>
                  <a:moveTo>
                    <a:pt x="221624" y="203235"/>
                  </a:moveTo>
                  <a:lnTo>
                    <a:pt x="221624" y="415166"/>
                  </a:lnTo>
                  <a:lnTo>
                    <a:pt x="249056" y="415166"/>
                  </a:lnTo>
                  <a:lnTo>
                    <a:pt x="249056" y="203235"/>
                  </a:lnTo>
                  <a:close/>
                  <a:moveTo>
                    <a:pt x="158140" y="203235"/>
                  </a:moveTo>
                  <a:lnTo>
                    <a:pt x="158140" y="415166"/>
                  </a:lnTo>
                  <a:lnTo>
                    <a:pt x="185572" y="415166"/>
                  </a:lnTo>
                  <a:lnTo>
                    <a:pt x="185572" y="203235"/>
                  </a:lnTo>
                  <a:close/>
                  <a:moveTo>
                    <a:pt x="94656" y="203235"/>
                  </a:moveTo>
                  <a:lnTo>
                    <a:pt x="94656" y="415166"/>
                  </a:lnTo>
                  <a:lnTo>
                    <a:pt x="122088" y="415166"/>
                  </a:lnTo>
                  <a:lnTo>
                    <a:pt x="122088" y="203235"/>
                  </a:lnTo>
                  <a:close/>
                  <a:moveTo>
                    <a:pt x="52985" y="57979"/>
                  </a:moveTo>
                  <a:cubicBezTo>
                    <a:pt x="48053" y="57979"/>
                    <a:pt x="44055" y="61977"/>
                    <a:pt x="44055" y="66909"/>
                  </a:cubicBezTo>
                  <a:lnTo>
                    <a:pt x="44055" y="102627"/>
                  </a:lnTo>
                  <a:cubicBezTo>
                    <a:pt x="44055" y="107559"/>
                    <a:pt x="48053" y="111557"/>
                    <a:pt x="52985" y="111557"/>
                  </a:cubicBezTo>
                  <a:lnTo>
                    <a:pt x="354212" y="111557"/>
                  </a:lnTo>
                  <a:cubicBezTo>
                    <a:pt x="359144" y="111557"/>
                    <a:pt x="363142" y="107559"/>
                    <a:pt x="363142" y="102627"/>
                  </a:cubicBezTo>
                  <a:lnTo>
                    <a:pt x="363142" y="66909"/>
                  </a:lnTo>
                  <a:cubicBezTo>
                    <a:pt x="363142" y="61977"/>
                    <a:pt x="359144" y="57979"/>
                    <a:pt x="354212" y="57979"/>
                  </a:cubicBezTo>
                  <a:close/>
                  <a:moveTo>
                    <a:pt x="20242" y="0"/>
                  </a:moveTo>
                  <a:lnTo>
                    <a:pt x="386952" y="0"/>
                  </a:lnTo>
                  <a:cubicBezTo>
                    <a:pt x="398131" y="0"/>
                    <a:pt x="407194" y="9063"/>
                    <a:pt x="407194" y="20242"/>
                  </a:cubicBezTo>
                  <a:lnTo>
                    <a:pt x="407194" y="690613"/>
                  </a:lnTo>
                  <a:cubicBezTo>
                    <a:pt x="407194" y="701792"/>
                    <a:pt x="398131" y="710855"/>
                    <a:pt x="386952" y="710855"/>
                  </a:cubicBezTo>
                  <a:lnTo>
                    <a:pt x="363141" y="710855"/>
                  </a:lnTo>
                  <a:lnTo>
                    <a:pt x="363141" y="725617"/>
                  </a:lnTo>
                  <a:lnTo>
                    <a:pt x="44054" y="725617"/>
                  </a:lnTo>
                  <a:lnTo>
                    <a:pt x="44054" y="710855"/>
                  </a:lnTo>
                  <a:lnTo>
                    <a:pt x="20242" y="710855"/>
                  </a:lnTo>
                  <a:cubicBezTo>
                    <a:pt x="9063" y="710855"/>
                    <a:pt x="0" y="701792"/>
                    <a:pt x="0" y="690613"/>
                  </a:cubicBezTo>
                  <a:lnTo>
                    <a:pt x="0" y="20242"/>
                  </a:lnTo>
                  <a:cubicBezTo>
                    <a:pt x="0" y="9063"/>
                    <a:pt x="9063" y="0"/>
                    <a:pt x="20242" y="0"/>
                  </a:cubicBezTo>
                  <a:close/>
                </a:path>
              </a:pathLst>
            </a:cu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40" name="Block Arc 100"/>
            <p:cNvSpPr/>
            <p:nvPr/>
          </p:nvSpPr>
          <p:spPr bwMode="auto">
            <a:xfrm rot="18900000" flipH="1">
              <a:off x="10129156" y="2238013"/>
              <a:ext cx="486052" cy="738366"/>
            </a:xfrm>
            <a:custGeom>
              <a:avLst/>
              <a:gdLst/>
              <a:ahLst/>
              <a:cxnLst/>
              <a:rect l="l" t="t" r="r" b="b"/>
              <a:pathLst>
                <a:path w="3205217" h="4869077">
                  <a:moveTo>
                    <a:pt x="2338541" y="4336801"/>
                  </a:moveTo>
                  <a:lnTo>
                    <a:pt x="2501107" y="4586632"/>
                  </a:lnTo>
                  <a:lnTo>
                    <a:pt x="2571649" y="4317404"/>
                  </a:lnTo>
                  <a:lnTo>
                    <a:pt x="2565239" y="4309605"/>
                  </a:lnTo>
                  <a:close/>
                  <a:moveTo>
                    <a:pt x="2626874" y="3985187"/>
                  </a:moveTo>
                  <a:lnTo>
                    <a:pt x="2643469" y="4210881"/>
                  </a:lnTo>
                  <a:lnTo>
                    <a:pt x="2652352" y="4215678"/>
                  </a:lnTo>
                  <a:lnTo>
                    <a:pt x="2900870" y="4095921"/>
                  </a:lnTo>
                  <a:close/>
                  <a:moveTo>
                    <a:pt x="2380812" y="4018176"/>
                  </a:moveTo>
                  <a:cubicBezTo>
                    <a:pt x="2385244" y="4035072"/>
                    <a:pt x="2380572" y="4052816"/>
                    <a:pt x="2368867" y="4067026"/>
                  </a:cubicBezTo>
                  <a:cubicBezTo>
                    <a:pt x="2357708" y="4080575"/>
                    <a:pt x="2342171" y="4088465"/>
                    <a:pt x="2325749" y="4089980"/>
                  </a:cubicBezTo>
                  <a:lnTo>
                    <a:pt x="2320902" y="4292684"/>
                  </a:lnTo>
                  <a:lnTo>
                    <a:pt x="2321009" y="4292858"/>
                  </a:lnTo>
                  <a:lnTo>
                    <a:pt x="2554349" y="4264865"/>
                  </a:lnTo>
                  <a:cubicBezTo>
                    <a:pt x="2554285" y="4252103"/>
                    <a:pt x="2559089" y="4239748"/>
                    <a:pt x="2567692" y="4229303"/>
                  </a:cubicBezTo>
                  <a:cubicBezTo>
                    <a:pt x="2575706" y="4219574"/>
                    <a:pt x="2585976" y="4212762"/>
                    <a:pt x="2597569" y="4210091"/>
                  </a:cubicBezTo>
                  <a:lnTo>
                    <a:pt x="2580251" y="3974570"/>
                  </a:lnTo>
                  <a:cubicBezTo>
                    <a:pt x="2580051" y="3974563"/>
                    <a:pt x="2579904" y="3974470"/>
                    <a:pt x="2579758" y="3974376"/>
                  </a:cubicBezTo>
                  <a:close/>
                  <a:moveTo>
                    <a:pt x="2157580" y="4042204"/>
                  </a:moveTo>
                  <a:cubicBezTo>
                    <a:pt x="2157200" y="4045975"/>
                    <a:pt x="2155457" y="4049193"/>
                    <a:pt x="2153403" y="4052282"/>
                  </a:cubicBezTo>
                  <a:lnTo>
                    <a:pt x="2276399" y="4241301"/>
                  </a:lnTo>
                  <a:lnTo>
                    <a:pt x="2280290" y="4078535"/>
                  </a:lnTo>
                  <a:cubicBezTo>
                    <a:pt x="2277592" y="4078046"/>
                    <a:pt x="2275536" y="4076533"/>
                    <a:pt x="2273542" y="4074890"/>
                  </a:cubicBezTo>
                  <a:lnTo>
                    <a:pt x="2269899" y="4069407"/>
                  </a:lnTo>
                  <a:cubicBezTo>
                    <a:pt x="2261639" y="4062699"/>
                    <a:pt x="2255813" y="4054106"/>
                    <a:pt x="2252986" y="4044485"/>
                  </a:cubicBezTo>
                  <a:close/>
                  <a:moveTo>
                    <a:pt x="2302907" y="3861978"/>
                  </a:moveTo>
                  <a:lnTo>
                    <a:pt x="2323512" y="3955567"/>
                  </a:lnTo>
                  <a:cubicBezTo>
                    <a:pt x="2335568" y="3956285"/>
                    <a:pt x="2347182" y="3961298"/>
                    <a:pt x="2357214" y="3969560"/>
                  </a:cubicBezTo>
                  <a:lnTo>
                    <a:pt x="2361891" y="3975527"/>
                  </a:lnTo>
                  <a:lnTo>
                    <a:pt x="2517957" y="3941168"/>
                  </a:lnTo>
                  <a:lnTo>
                    <a:pt x="2310388" y="3857279"/>
                  </a:lnTo>
                  <a:close/>
                  <a:moveTo>
                    <a:pt x="2034990" y="3870305"/>
                  </a:moveTo>
                  <a:lnTo>
                    <a:pt x="2086891" y="3950066"/>
                  </a:lnTo>
                  <a:cubicBezTo>
                    <a:pt x="2104679" y="3947743"/>
                    <a:pt x="2123450" y="3952809"/>
                    <a:pt x="2138608" y="3965294"/>
                  </a:cubicBezTo>
                  <a:cubicBezTo>
                    <a:pt x="2148908" y="3973778"/>
                    <a:pt x="2156166" y="3984556"/>
                    <a:pt x="2159162" y="3996509"/>
                  </a:cubicBezTo>
                  <a:lnTo>
                    <a:pt x="2250698" y="3998697"/>
                  </a:lnTo>
                  <a:lnTo>
                    <a:pt x="2261888" y="3977424"/>
                  </a:lnTo>
                  <a:lnTo>
                    <a:pt x="2278559" y="3964025"/>
                  </a:lnTo>
                  <a:lnTo>
                    <a:pt x="2258380" y="3872369"/>
                  </a:lnTo>
                  <a:cubicBezTo>
                    <a:pt x="2246080" y="3871674"/>
                    <a:pt x="2234102" y="3866615"/>
                    <a:pt x="2223794" y="3858125"/>
                  </a:cubicBezTo>
                  <a:cubicBezTo>
                    <a:pt x="2209163" y="3846074"/>
                    <a:pt x="2200672" y="3829395"/>
                    <a:pt x="2198782" y="3812174"/>
                  </a:cubicBezTo>
                  <a:lnTo>
                    <a:pt x="2111920" y="3777069"/>
                  </a:lnTo>
                  <a:cubicBezTo>
                    <a:pt x="2105341" y="3795065"/>
                    <a:pt x="2094577" y="3812899"/>
                    <a:pt x="2080735" y="3829705"/>
                  </a:cubicBezTo>
                  <a:cubicBezTo>
                    <a:pt x="2066880" y="3846526"/>
                    <a:pt x="2051424" y="3860517"/>
                    <a:pt x="2034990" y="3870305"/>
                  </a:cubicBezTo>
                  <a:close/>
                  <a:moveTo>
                    <a:pt x="1066463" y="1763974"/>
                  </a:moveTo>
                  <a:cubicBezTo>
                    <a:pt x="1147505" y="1789982"/>
                    <a:pt x="1239431" y="1766870"/>
                    <a:pt x="1297993" y="1698844"/>
                  </a:cubicBezTo>
                  <a:lnTo>
                    <a:pt x="1566611" y="2501604"/>
                  </a:lnTo>
                  <a:cubicBezTo>
                    <a:pt x="1489632" y="2523995"/>
                    <a:pt x="1330694" y="2556004"/>
                    <a:pt x="1253715" y="2578395"/>
                  </a:cubicBezTo>
                  <a:cubicBezTo>
                    <a:pt x="1175043" y="2307929"/>
                    <a:pt x="1145136" y="2034440"/>
                    <a:pt x="1066463" y="1763974"/>
                  </a:cubicBezTo>
                  <a:close/>
                  <a:moveTo>
                    <a:pt x="0" y="3024870"/>
                  </a:moveTo>
                  <a:lnTo>
                    <a:pt x="2832402" y="2185262"/>
                  </a:lnTo>
                  <a:cubicBezTo>
                    <a:pt x="2897327" y="2591250"/>
                    <a:pt x="2793341" y="3021873"/>
                    <a:pt x="2511222" y="3364393"/>
                  </a:cubicBezTo>
                  <a:cubicBezTo>
                    <a:pt x="2398639" y="3501080"/>
                    <a:pt x="2266849" y="3612613"/>
                    <a:pt x="2121847" y="3696298"/>
                  </a:cubicBezTo>
                  <a:lnTo>
                    <a:pt x="2124922" y="3722539"/>
                  </a:lnTo>
                  <a:lnTo>
                    <a:pt x="2218421" y="3758901"/>
                  </a:lnTo>
                  <a:cubicBezTo>
                    <a:pt x="2241774" y="3734310"/>
                    <a:pt x="2281106" y="3732571"/>
                    <a:pt x="2308573" y="3755195"/>
                  </a:cubicBezTo>
                  <a:cubicBezTo>
                    <a:pt x="2323892" y="3767812"/>
                    <a:pt x="2332480" y="3785503"/>
                    <a:pt x="2333381" y="3803608"/>
                  </a:cubicBezTo>
                  <a:lnTo>
                    <a:pt x="2547556" y="3886900"/>
                  </a:lnTo>
                  <a:lnTo>
                    <a:pt x="2555353" y="3872077"/>
                  </a:lnTo>
                  <a:cubicBezTo>
                    <a:pt x="2578765" y="3843653"/>
                    <a:pt x="2621443" y="3840133"/>
                    <a:pt x="2650679" y="3864213"/>
                  </a:cubicBezTo>
                  <a:cubicBezTo>
                    <a:pt x="2672627" y="3882291"/>
                    <a:pt x="2680759" y="3910785"/>
                    <a:pt x="2673528" y="3935889"/>
                  </a:cubicBezTo>
                  <a:lnTo>
                    <a:pt x="2933845" y="4037125"/>
                  </a:lnTo>
                  <a:lnTo>
                    <a:pt x="2943410" y="4018943"/>
                  </a:lnTo>
                  <a:cubicBezTo>
                    <a:pt x="2966821" y="3990520"/>
                    <a:pt x="3009499" y="3986999"/>
                    <a:pt x="3038735" y="4011079"/>
                  </a:cubicBezTo>
                  <a:cubicBezTo>
                    <a:pt x="3061734" y="4030022"/>
                    <a:pt x="3069562" y="4060403"/>
                    <a:pt x="3059817" y="4086115"/>
                  </a:cubicBezTo>
                  <a:lnTo>
                    <a:pt x="3089175" y="4097532"/>
                  </a:lnTo>
                  <a:lnTo>
                    <a:pt x="3095638" y="4089687"/>
                  </a:lnTo>
                  <a:cubicBezTo>
                    <a:pt x="3103042" y="4080696"/>
                    <a:pt x="3116333" y="4079411"/>
                    <a:pt x="3125323" y="4086816"/>
                  </a:cubicBezTo>
                  <a:lnTo>
                    <a:pt x="3197535" y="4146294"/>
                  </a:lnTo>
                  <a:cubicBezTo>
                    <a:pt x="3206525" y="4153699"/>
                    <a:pt x="3207811" y="4166990"/>
                    <a:pt x="3200406" y="4175980"/>
                  </a:cubicBezTo>
                  <a:lnTo>
                    <a:pt x="3146778" y="4241089"/>
                  </a:lnTo>
                  <a:cubicBezTo>
                    <a:pt x="3139373" y="4250079"/>
                    <a:pt x="3126082" y="4251364"/>
                    <a:pt x="3117092" y="4243959"/>
                  </a:cubicBezTo>
                  <a:lnTo>
                    <a:pt x="3044881" y="4184481"/>
                  </a:lnTo>
                  <a:cubicBezTo>
                    <a:pt x="3035890" y="4177077"/>
                    <a:pt x="3034605" y="4163786"/>
                    <a:pt x="3042010" y="4154795"/>
                  </a:cubicBezTo>
                  <a:lnTo>
                    <a:pt x="3043143" y="4153420"/>
                  </a:lnTo>
                  <a:lnTo>
                    <a:pt x="2958150" y="4119071"/>
                  </a:lnTo>
                  <a:lnTo>
                    <a:pt x="2682548" y="4251879"/>
                  </a:lnTo>
                  <a:cubicBezTo>
                    <a:pt x="2693542" y="4273353"/>
                    <a:pt x="2690701" y="4299443"/>
                    <a:pt x="2674671" y="4318904"/>
                  </a:cubicBezTo>
                  <a:cubicBezTo>
                    <a:pt x="2663073" y="4332986"/>
                    <a:pt x="2646746" y="4340955"/>
                    <a:pt x="2629604" y="4339696"/>
                  </a:cubicBezTo>
                  <a:cubicBezTo>
                    <a:pt x="2628473" y="4340102"/>
                    <a:pt x="2627309" y="4340195"/>
                    <a:pt x="2626124" y="4339911"/>
                  </a:cubicBezTo>
                  <a:cubicBezTo>
                    <a:pt x="2621690" y="4342134"/>
                    <a:pt x="2617222" y="4341678"/>
                    <a:pt x="2612799" y="4340735"/>
                  </a:cubicBezTo>
                  <a:lnTo>
                    <a:pt x="2534802" y="4638415"/>
                  </a:lnTo>
                  <a:lnTo>
                    <a:pt x="2537148" y="4642020"/>
                  </a:lnTo>
                  <a:cubicBezTo>
                    <a:pt x="2543001" y="4646768"/>
                    <a:pt x="2546841" y="4652991"/>
                    <a:pt x="2548791" y="4659913"/>
                  </a:cubicBezTo>
                  <a:lnTo>
                    <a:pt x="2582852" y="4712257"/>
                  </a:lnTo>
                  <a:lnTo>
                    <a:pt x="2584716" y="4709994"/>
                  </a:lnTo>
                  <a:cubicBezTo>
                    <a:pt x="2592121" y="4701004"/>
                    <a:pt x="2605412" y="4699718"/>
                    <a:pt x="2614402" y="4707123"/>
                  </a:cubicBezTo>
                  <a:lnTo>
                    <a:pt x="2686614" y="4766601"/>
                  </a:lnTo>
                  <a:cubicBezTo>
                    <a:pt x="2695604" y="4774006"/>
                    <a:pt x="2696889" y="4787297"/>
                    <a:pt x="2689485" y="4796287"/>
                  </a:cubicBezTo>
                  <a:lnTo>
                    <a:pt x="2635857" y="4861396"/>
                  </a:lnTo>
                  <a:cubicBezTo>
                    <a:pt x="2628452" y="4870386"/>
                    <a:pt x="2615161" y="4871671"/>
                    <a:pt x="2606171" y="4864266"/>
                  </a:cubicBezTo>
                  <a:lnTo>
                    <a:pt x="2533959" y="4804788"/>
                  </a:lnTo>
                  <a:cubicBezTo>
                    <a:pt x="2524969" y="4797384"/>
                    <a:pt x="2523684" y="4784093"/>
                    <a:pt x="2531089" y="4775103"/>
                  </a:cubicBezTo>
                  <a:lnTo>
                    <a:pt x="2536821" y="4768144"/>
                  </a:lnTo>
                  <a:lnTo>
                    <a:pt x="2521118" y="4743302"/>
                  </a:lnTo>
                  <a:cubicBezTo>
                    <a:pt x="2497795" y="4756544"/>
                    <a:pt x="2467358" y="4754351"/>
                    <a:pt x="2444872" y="4735830"/>
                  </a:cubicBezTo>
                  <a:cubicBezTo>
                    <a:pt x="2415637" y="4711750"/>
                    <a:pt x="2410915" y="4669188"/>
                    <a:pt x="2434326" y="4640764"/>
                  </a:cubicBezTo>
                  <a:lnTo>
                    <a:pt x="2448900" y="4629050"/>
                  </a:lnTo>
                  <a:lnTo>
                    <a:pt x="2299277" y="4392344"/>
                  </a:lnTo>
                  <a:cubicBezTo>
                    <a:pt x="2276432" y="4403573"/>
                    <a:pt x="2247795" y="4400747"/>
                    <a:pt x="2226375" y="4383103"/>
                  </a:cubicBezTo>
                  <a:cubicBezTo>
                    <a:pt x="2197139" y="4359023"/>
                    <a:pt x="2192418" y="4316461"/>
                    <a:pt x="2215829" y="4288037"/>
                  </a:cubicBezTo>
                  <a:lnTo>
                    <a:pt x="2227443" y="4278702"/>
                  </a:lnTo>
                  <a:lnTo>
                    <a:pt x="2104256" y="4083817"/>
                  </a:lnTo>
                  <a:cubicBezTo>
                    <a:pt x="2086837" y="4085521"/>
                    <a:pt x="2068613" y="4080402"/>
                    <a:pt x="2053828" y="4068224"/>
                  </a:cubicBezTo>
                  <a:cubicBezTo>
                    <a:pt x="2026943" y="4046079"/>
                    <a:pt x="2020788" y="4008305"/>
                    <a:pt x="2039207" y="3980906"/>
                  </a:cubicBezTo>
                  <a:lnTo>
                    <a:pt x="1983128" y="3892189"/>
                  </a:lnTo>
                  <a:cubicBezTo>
                    <a:pt x="1966343" y="3896943"/>
                    <a:pt x="1950502" y="3895196"/>
                    <a:pt x="1937656" y="3887883"/>
                  </a:cubicBezTo>
                  <a:lnTo>
                    <a:pt x="1894539" y="3940231"/>
                  </a:lnTo>
                  <a:cubicBezTo>
                    <a:pt x="1874645" y="3964385"/>
                    <a:pt x="1838936" y="3967838"/>
                    <a:pt x="1814782" y="3947943"/>
                  </a:cubicBezTo>
                  <a:lnTo>
                    <a:pt x="1712857" y="3863991"/>
                  </a:lnTo>
                  <a:cubicBezTo>
                    <a:pt x="1272645" y="3972973"/>
                    <a:pt x="788898" y="3878780"/>
                    <a:pt x="412164" y="3568480"/>
                  </a:cubicBezTo>
                  <a:cubicBezTo>
                    <a:pt x="227866" y="3416681"/>
                    <a:pt x="89421" y="3229838"/>
                    <a:pt x="0" y="3024870"/>
                  </a:cubicBezTo>
                  <a:close/>
                  <a:moveTo>
                    <a:pt x="981828" y="1413935"/>
                  </a:moveTo>
                  <a:cubicBezTo>
                    <a:pt x="1051928" y="1328826"/>
                    <a:pt x="1177751" y="1316659"/>
                    <a:pt x="1262860" y="1386760"/>
                  </a:cubicBezTo>
                  <a:cubicBezTo>
                    <a:pt x="1347969" y="1456861"/>
                    <a:pt x="1360136" y="1582683"/>
                    <a:pt x="1290035" y="1667793"/>
                  </a:cubicBezTo>
                  <a:cubicBezTo>
                    <a:pt x="1219934" y="1752902"/>
                    <a:pt x="1094112" y="1765068"/>
                    <a:pt x="1009002" y="1694967"/>
                  </a:cubicBezTo>
                  <a:cubicBezTo>
                    <a:pt x="923893" y="1624867"/>
                    <a:pt x="911727" y="1499044"/>
                    <a:pt x="981828" y="1413935"/>
                  </a:cubicBezTo>
                  <a:close/>
                  <a:moveTo>
                    <a:pt x="774033" y="1151519"/>
                  </a:moveTo>
                  <a:cubicBezTo>
                    <a:pt x="839167" y="1059660"/>
                    <a:pt x="944943" y="1000158"/>
                    <a:pt x="1062054" y="989502"/>
                  </a:cubicBezTo>
                  <a:cubicBezTo>
                    <a:pt x="1177023" y="979040"/>
                    <a:pt x="1291047" y="1016740"/>
                    <a:pt x="1373577" y="1092500"/>
                  </a:cubicBezTo>
                  <a:lnTo>
                    <a:pt x="1299876" y="1163056"/>
                  </a:lnTo>
                  <a:cubicBezTo>
                    <a:pt x="1239150" y="1109898"/>
                    <a:pt x="1156188" y="1083522"/>
                    <a:pt x="1072542" y="1090780"/>
                  </a:cubicBezTo>
                  <a:cubicBezTo>
                    <a:pt x="986770" y="1098223"/>
                    <a:pt x="909080" y="1140260"/>
                    <a:pt x="860600" y="1205460"/>
                  </a:cubicBezTo>
                  <a:close/>
                  <a:moveTo>
                    <a:pt x="561882" y="777541"/>
                  </a:moveTo>
                  <a:cubicBezTo>
                    <a:pt x="683875" y="641405"/>
                    <a:pt x="858613" y="554364"/>
                    <a:pt x="1049520" y="536992"/>
                  </a:cubicBezTo>
                  <a:cubicBezTo>
                    <a:pt x="1263707" y="517502"/>
                    <a:pt x="1476134" y="587736"/>
                    <a:pt x="1629887" y="728877"/>
                  </a:cubicBezTo>
                  <a:lnTo>
                    <a:pt x="1492582" y="860324"/>
                  </a:lnTo>
                  <a:cubicBezTo>
                    <a:pt x="1379450" y="761291"/>
                    <a:pt x="1224890" y="712152"/>
                    <a:pt x="1069057" y="725675"/>
                  </a:cubicBezTo>
                  <a:cubicBezTo>
                    <a:pt x="909264" y="739541"/>
                    <a:pt x="764526" y="817857"/>
                    <a:pt x="674208" y="939324"/>
                  </a:cubicBezTo>
                  <a:lnTo>
                    <a:pt x="512935" y="838830"/>
                  </a:lnTo>
                  <a:cubicBezTo>
                    <a:pt x="528103" y="817438"/>
                    <a:pt x="544454" y="796989"/>
                    <a:pt x="561882" y="777541"/>
                  </a:cubicBezTo>
                  <a:close/>
                  <a:moveTo>
                    <a:pt x="309974" y="347024"/>
                  </a:moveTo>
                  <a:cubicBezTo>
                    <a:pt x="483656" y="153208"/>
                    <a:pt x="732431" y="29287"/>
                    <a:pt x="1004223" y="4555"/>
                  </a:cubicBezTo>
                  <a:cubicBezTo>
                    <a:pt x="1309160" y="-23193"/>
                    <a:pt x="1611592" y="76799"/>
                    <a:pt x="1830491" y="277742"/>
                  </a:cubicBezTo>
                  <a:lnTo>
                    <a:pt x="1635008" y="464883"/>
                  </a:lnTo>
                  <a:cubicBezTo>
                    <a:pt x="1473943" y="323890"/>
                    <a:pt x="1253896" y="253931"/>
                    <a:pt x="1032038" y="273182"/>
                  </a:cubicBezTo>
                  <a:cubicBezTo>
                    <a:pt x="804541" y="292923"/>
                    <a:pt x="598479" y="404421"/>
                    <a:pt x="469894" y="577354"/>
                  </a:cubicBezTo>
                  <a:lnTo>
                    <a:pt x="240289" y="434282"/>
                  </a:lnTo>
                  <a:cubicBezTo>
                    <a:pt x="261884" y="403826"/>
                    <a:pt x="285163" y="374712"/>
                    <a:pt x="309974" y="347024"/>
                  </a:cubicBezTo>
                  <a:close/>
                </a:path>
              </a:pathLst>
            </a:custGeom>
            <a:solidFill>
              <a:schemeClr val="accent4"/>
            </a:solidFill>
            <a:ln w="10795" cap="flat" cmpd="sng" algn="ctr">
              <a:noFill/>
              <a:prstDash val="solid"/>
            </a:ln>
            <a:effectLst/>
          </p:spPr>
          <p:txBody>
            <a:bodyPr rtlCol="0" anchor="ctr"/>
            <a:lstStyle/>
            <a:p>
              <a:pPr marL="0" marR="0" lvl="0" indent="0" algn="ctr" defTabSz="896214" rtl="0" eaLnBrk="1" fontAlgn="auto" latinLnBrk="1"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err="1">
                <a:ln>
                  <a:noFill/>
                </a:ln>
                <a:solidFill>
                  <a:srgbClr val="FFFFFF"/>
                </a:solidFill>
                <a:effectLst/>
                <a:uLnTx/>
                <a:uFillTx/>
                <a:latin typeface="Segoe UI"/>
                <a:ea typeface="+mn-ea"/>
                <a:cs typeface="+mn-cs"/>
              </a:endParaRPr>
            </a:p>
          </p:txBody>
        </p:sp>
        <p:grpSp>
          <p:nvGrpSpPr>
            <p:cNvPr id="41" name="Group 117"/>
            <p:cNvGrpSpPr>
              <a:grpSpLocks noChangeAspect="1"/>
            </p:cNvGrpSpPr>
            <p:nvPr/>
          </p:nvGrpSpPr>
          <p:grpSpPr bwMode="black">
            <a:xfrm>
              <a:off x="11197042" y="2841963"/>
              <a:ext cx="637100" cy="669322"/>
              <a:chOff x="6135640" y="2836922"/>
              <a:chExt cx="473242" cy="497305"/>
            </a:xfrm>
            <a:solidFill>
              <a:schemeClr val="accent5"/>
            </a:solidFill>
          </p:grpSpPr>
          <p:grpSp>
            <p:nvGrpSpPr>
              <p:cNvPr id="75" name="Group 156"/>
              <p:cNvGrpSpPr/>
              <p:nvPr/>
            </p:nvGrpSpPr>
            <p:grpSpPr bwMode="black">
              <a:xfrm>
                <a:off x="6135640" y="2836922"/>
                <a:ext cx="473242" cy="497305"/>
                <a:chOff x="5574624" y="922419"/>
                <a:chExt cx="473241" cy="497307"/>
              </a:xfrm>
              <a:grpFill/>
            </p:grpSpPr>
            <p:sp>
              <p:nvSpPr>
                <p:cNvPr id="77" name="Rounded Rectangle 158"/>
                <p:cNvSpPr/>
                <p:nvPr/>
              </p:nvSpPr>
              <p:spPr bwMode="black">
                <a:xfrm>
                  <a:off x="5574624" y="922419"/>
                  <a:ext cx="473241" cy="360946"/>
                </a:xfrm>
                <a:prstGeom prst="roundRect">
                  <a:avLst/>
                </a:prstGeom>
                <a:solidFill>
                  <a:srgbClr val="00BCF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78" name="Isosceles Triangle 159"/>
                <p:cNvSpPr/>
                <p:nvPr/>
              </p:nvSpPr>
              <p:spPr bwMode="black">
                <a:xfrm flipV="1">
                  <a:off x="5662862" y="1251284"/>
                  <a:ext cx="202131" cy="168442"/>
                </a:xfrm>
                <a:prstGeom prst="triangle">
                  <a:avLst>
                    <a:gd name="adj" fmla="val 20000"/>
                  </a:avLst>
                </a:prstGeom>
                <a:solidFill>
                  <a:srgbClr val="00BCF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sp>
            <p:nvSpPr>
              <p:cNvPr id="76" name="TextBox 75"/>
              <p:cNvSpPr txBox="1"/>
              <p:nvPr/>
            </p:nvSpPr>
            <p:spPr bwMode="black">
              <a:xfrm>
                <a:off x="6208295" y="2909109"/>
                <a:ext cx="393031" cy="182771"/>
              </a:xfrm>
              <a:prstGeom prst="rect">
                <a:avLst/>
              </a:prstGeom>
              <a:noFill/>
            </p:spPr>
            <p:txBody>
              <a:bodyPr wrap="square" lIns="0" tIns="0" rIns="0" bIns="0"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1567" b="0" i="0" u="none" strike="noStrike" kern="1200" cap="none" spc="-132" normalizeH="0" baseline="0" noProof="0" dirty="0">
                    <a:ln>
                      <a:noFill/>
                    </a:ln>
                    <a:solidFill>
                      <a:prstClr val="white"/>
                    </a:solidFill>
                    <a:effectLst/>
                    <a:uLnTx/>
                    <a:uFillTx/>
                    <a:latin typeface="Segoe UI"/>
                    <a:ea typeface="+mn-ea"/>
                    <a:cs typeface="Segoe UI" panose="020B0502040204020203" pitchFamily="34" charset="0"/>
                    <a:sym typeface="Segoe UI" panose="020B0502040204020203" pitchFamily="34" charset="0"/>
                  </a:rPr>
                  <a:t>“   ”</a:t>
                </a:r>
              </a:p>
            </p:txBody>
          </p:sp>
        </p:grpSp>
        <p:sp>
          <p:nvSpPr>
            <p:cNvPr id="42" name="Freeform 118"/>
            <p:cNvSpPr/>
            <p:nvPr/>
          </p:nvSpPr>
          <p:spPr bwMode="auto">
            <a:xfrm>
              <a:off x="10805079" y="1897925"/>
              <a:ext cx="620546" cy="557252"/>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90"/>
            <p:cNvSpPr>
              <a:spLocks noEditPoints="1"/>
            </p:cNvSpPr>
            <p:nvPr/>
          </p:nvSpPr>
          <p:spPr bwMode="black">
            <a:xfrm flipH="1">
              <a:off x="8284675" y="2181438"/>
              <a:ext cx="306985" cy="209724"/>
            </a:xfrm>
            <a:custGeom>
              <a:avLst/>
              <a:gdLst>
                <a:gd name="T0" fmla="*/ 44 w 101"/>
                <a:gd name="T1" fmla="*/ 0 h 69"/>
                <a:gd name="T2" fmla="*/ 44 w 101"/>
                <a:gd name="T3" fmla="*/ 69 h 69"/>
                <a:gd name="T4" fmla="*/ 0 w 101"/>
                <a:gd name="T5" fmla="*/ 35 h 69"/>
                <a:gd name="T6" fmla="*/ 44 w 101"/>
                <a:gd name="T7" fmla="*/ 0 h 69"/>
                <a:gd name="T8" fmla="*/ 56 w 101"/>
                <a:gd name="T9" fmla="*/ 35 h 69"/>
                <a:gd name="T10" fmla="*/ 101 w 101"/>
                <a:gd name="T11" fmla="*/ 69 h 69"/>
                <a:gd name="T12" fmla="*/ 101 w 101"/>
                <a:gd name="T13" fmla="*/ 0 h 69"/>
                <a:gd name="T14" fmla="*/ 56 w 101"/>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69">
                  <a:moveTo>
                    <a:pt x="44" y="0"/>
                  </a:moveTo>
                  <a:lnTo>
                    <a:pt x="44" y="69"/>
                  </a:lnTo>
                  <a:lnTo>
                    <a:pt x="0" y="35"/>
                  </a:lnTo>
                  <a:lnTo>
                    <a:pt x="44" y="0"/>
                  </a:lnTo>
                  <a:close/>
                  <a:moveTo>
                    <a:pt x="56" y="35"/>
                  </a:moveTo>
                  <a:lnTo>
                    <a:pt x="101" y="69"/>
                  </a:lnTo>
                  <a:lnTo>
                    <a:pt x="101" y="0"/>
                  </a:lnTo>
                  <a:lnTo>
                    <a:pt x="56" y="35"/>
                  </a:lnTo>
                  <a:close/>
                </a:path>
              </a:pathLst>
            </a:custGeom>
            <a:solidFill>
              <a:schemeClr val="accent2"/>
            </a:solidFill>
            <a:ln>
              <a:noFill/>
            </a:ln>
            <a:extLst/>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44" name="Group 124"/>
            <p:cNvGrpSpPr/>
            <p:nvPr/>
          </p:nvGrpSpPr>
          <p:grpSpPr>
            <a:xfrm>
              <a:off x="10893086" y="3344340"/>
              <a:ext cx="320624" cy="875812"/>
              <a:chOff x="3881450" y="69056"/>
              <a:chExt cx="1666777" cy="4552950"/>
            </a:xfrm>
            <a:solidFill>
              <a:schemeClr val="accent3"/>
            </a:solidFill>
          </p:grpSpPr>
          <p:sp>
            <p:nvSpPr>
              <p:cNvPr id="66" name="Oval 147"/>
              <p:cNvSpPr/>
              <p:nvPr/>
            </p:nvSpPr>
            <p:spPr>
              <a:xfrm>
                <a:off x="4441375" y="69056"/>
                <a:ext cx="551494" cy="658538"/>
              </a:xfrm>
              <a:prstGeom prst="ellipse">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67" name="Rounded Rectangle 8"/>
              <p:cNvSpPr/>
              <p:nvPr/>
            </p:nvSpPr>
            <p:spPr>
              <a:xfrm>
                <a:off x="4041639" y="759234"/>
                <a:ext cx="1350966" cy="652937"/>
              </a:xfrm>
              <a:custGeom>
                <a:avLst/>
                <a:gdLst/>
                <a:ahLst/>
                <a:cxnLst/>
                <a:rect l="l" t="t" r="r" b="b"/>
                <a:pathLst>
                  <a:path w="1350966" h="652937">
                    <a:moveTo>
                      <a:pt x="0" y="350097"/>
                    </a:moveTo>
                    <a:lnTo>
                      <a:pt x="0" y="350098"/>
                    </a:lnTo>
                    <a:close/>
                    <a:moveTo>
                      <a:pt x="520119" y="0"/>
                    </a:moveTo>
                    <a:lnTo>
                      <a:pt x="675483" y="263324"/>
                    </a:lnTo>
                    <a:lnTo>
                      <a:pt x="830417" y="729"/>
                    </a:lnTo>
                    <a:cubicBezTo>
                      <a:pt x="903593" y="21645"/>
                      <a:pt x="976926" y="47251"/>
                      <a:pt x="1048127" y="47259"/>
                    </a:cubicBezTo>
                    <a:cubicBezTo>
                      <a:pt x="1215380" y="47259"/>
                      <a:pt x="1350966" y="182845"/>
                      <a:pt x="1350966" y="350098"/>
                    </a:cubicBezTo>
                    <a:lnTo>
                      <a:pt x="1350965" y="350098"/>
                    </a:lnTo>
                    <a:cubicBezTo>
                      <a:pt x="1350965" y="517351"/>
                      <a:pt x="1215379" y="652937"/>
                      <a:pt x="1048126" y="652937"/>
                    </a:cubicBezTo>
                    <a:lnTo>
                      <a:pt x="302839" y="652936"/>
                    </a:lnTo>
                    <a:cubicBezTo>
                      <a:pt x="135586" y="652936"/>
                      <a:pt x="0" y="517350"/>
                      <a:pt x="0" y="350098"/>
                    </a:cubicBezTo>
                    <a:cubicBezTo>
                      <a:pt x="0" y="182845"/>
                      <a:pt x="135586" y="47259"/>
                      <a:pt x="302839" y="47259"/>
                    </a:cubicBezTo>
                    <a:cubicBezTo>
                      <a:pt x="376528" y="47251"/>
                      <a:pt x="448031" y="21006"/>
                      <a:pt x="520119" y="0"/>
                    </a:cubicBezTo>
                    <a:close/>
                  </a:path>
                </a:pathLst>
              </a:cu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68" name="Rounded Rectangle 8"/>
              <p:cNvSpPr/>
              <p:nvPr/>
            </p:nvSpPr>
            <p:spPr>
              <a:xfrm>
                <a:off x="4157392" y="1355776"/>
                <a:ext cx="1119458" cy="1412827"/>
              </a:xfrm>
              <a:custGeom>
                <a:avLst/>
                <a:gdLst/>
                <a:ahLst/>
                <a:cxnLst/>
                <a:rect l="l" t="t" r="r" b="b"/>
                <a:pathLst>
                  <a:path w="1119458" h="1412827">
                    <a:moveTo>
                      <a:pt x="0" y="0"/>
                    </a:moveTo>
                    <a:lnTo>
                      <a:pt x="1119458" y="0"/>
                    </a:lnTo>
                    <a:lnTo>
                      <a:pt x="1119458" y="384037"/>
                    </a:lnTo>
                    <a:lnTo>
                      <a:pt x="935841" y="773682"/>
                    </a:lnTo>
                    <a:cubicBezTo>
                      <a:pt x="890749" y="869369"/>
                      <a:pt x="931764" y="983491"/>
                      <a:pt x="1027451" y="1028583"/>
                    </a:cubicBezTo>
                    <a:cubicBezTo>
                      <a:pt x="1057262" y="1042631"/>
                      <a:pt x="1088862" y="1048322"/>
                      <a:pt x="1119458" y="1043952"/>
                    </a:cubicBezTo>
                    <a:lnTo>
                      <a:pt x="1119458" y="1184606"/>
                    </a:lnTo>
                    <a:lnTo>
                      <a:pt x="1119458" y="1315987"/>
                    </a:lnTo>
                    <a:lnTo>
                      <a:pt x="1119458" y="1412827"/>
                    </a:lnTo>
                    <a:lnTo>
                      <a:pt x="0" y="1412827"/>
                    </a:lnTo>
                    <a:lnTo>
                      <a:pt x="0" y="1315987"/>
                    </a:lnTo>
                    <a:lnTo>
                      <a:pt x="0" y="1184606"/>
                    </a:lnTo>
                    <a:lnTo>
                      <a:pt x="0" y="1044326"/>
                    </a:lnTo>
                    <a:cubicBezTo>
                      <a:pt x="29860" y="1048010"/>
                      <a:pt x="60566" y="1042254"/>
                      <a:pt x="89577" y="1028583"/>
                    </a:cubicBezTo>
                    <a:cubicBezTo>
                      <a:pt x="185264" y="983491"/>
                      <a:pt x="226278" y="869369"/>
                      <a:pt x="181187" y="773682"/>
                    </a:cubicBezTo>
                    <a:lnTo>
                      <a:pt x="0" y="389196"/>
                    </a:lnTo>
                    <a:close/>
                  </a:path>
                </a:pathLst>
              </a:cu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69" name="Rounded Rectangle 150"/>
              <p:cNvSpPr/>
              <p:nvPr/>
            </p:nvSpPr>
            <p:spPr>
              <a:xfrm>
                <a:off x="4254347" y="2540382"/>
                <a:ext cx="376642" cy="2081624"/>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70" name="Rounded Rectangle 151"/>
              <p:cNvSpPr/>
              <p:nvPr/>
            </p:nvSpPr>
            <p:spPr>
              <a:xfrm>
                <a:off x="4803255" y="2540382"/>
                <a:ext cx="376642" cy="2081624"/>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71" name="Rounded Rectangle 152"/>
              <p:cNvSpPr/>
              <p:nvPr/>
            </p:nvSpPr>
            <p:spPr>
              <a:xfrm rot="19813404">
                <a:off x="5227850" y="838507"/>
                <a:ext cx="308434" cy="963397"/>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72" name="Rounded Rectangle 153"/>
              <p:cNvSpPr/>
              <p:nvPr/>
            </p:nvSpPr>
            <p:spPr>
              <a:xfrm rot="1513910">
                <a:off x="5261012" y="1456893"/>
                <a:ext cx="287215" cy="922176"/>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73" name="Rounded Rectangle 154"/>
              <p:cNvSpPr/>
              <p:nvPr/>
            </p:nvSpPr>
            <p:spPr>
              <a:xfrm rot="1786596" flipH="1">
                <a:off x="3893393" y="838507"/>
                <a:ext cx="308434" cy="963397"/>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sp>
            <p:nvSpPr>
              <p:cNvPr id="74" name="Rounded Rectangle 155"/>
              <p:cNvSpPr/>
              <p:nvPr/>
            </p:nvSpPr>
            <p:spPr>
              <a:xfrm rot="20086090" flipH="1">
                <a:off x="3881450" y="1456893"/>
                <a:ext cx="287215" cy="922176"/>
              </a:xfrm>
              <a:prstGeom prst="roundRect">
                <a:avLst>
                  <a:gd name="adj" fmla="val 50000"/>
                </a:avLst>
              </a:prstGeom>
              <a:solidFill>
                <a:schemeClr val="accent4"/>
              </a:solidFill>
            </p:spPr>
            <p:txBody>
              <a:bodyPr wrap="square" lIns="179259"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black"/>
                  </a:solidFill>
                  <a:effectLst/>
                  <a:uLnTx/>
                  <a:uFillTx/>
                  <a:latin typeface="Segoe UI"/>
                  <a:ea typeface="+mn-ea"/>
                  <a:cs typeface="+mn-cs"/>
                </a:endParaRPr>
              </a:p>
            </p:txBody>
          </p:sp>
        </p:grpSp>
        <p:sp>
          <p:nvSpPr>
            <p:cNvPr id="45" name="Freeform 132"/>
            <p:cNvSpPr>
              <a:spLocks noEditPoints="1"/>
            </p:cNvSpPr>
            <p:nvPr/>
          </p:nvSpPr>
          <p:spPr bwMode="black">
            <a:xfrm>
              <a:off x="11738330" y="58809"/>
              <a:ext cx="301481" cy="491301"/>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accent1"/>
            </a:solidFill>
            <a:ln>
              <a:solidFill>
                <a:schemeClr val="accent1"/>
              </a:solidFill>
            </a:ln>
            <a:extLst/>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6"/>
            <p:cNvSpPr>
              <a:spLocks noEditPoints="1"/>
            </p:cNvSpPr>
            <p:nvPr/>
          </p:nvSpPr>
          <p:spPr bwMode="auto">
            <a:xfrm>
              <a:off x="10169436" y="1339177"/>
              <a:ext cx="207491" cy="416682"/>
            </a:xfrm>
            <a:custGeom>
              <a:avLst/>
              <a:gdLst>
                <a:gd name="T0" fmla="*/ 1666 w 3416"/>
                <a:gd name="T1" fmla="*/ 5646 h 6862"/>
                <a:gd name="T2" fmla="*/ 1891 w 3416"/>
                <a:gd name="T3" fmla="*/ 5762 h 6862"/>
                <a:gd name="T4" fmla="*/ 2062 w 3416"/>
                <a:gd name="T5" fmla="*/ 5948 h 6862"/>
                <a:gd name="T6" fmla="*/ 2135 w 3416"/>
                <a:gd name="T7" fmla="*/ 6178 h 6862"/>
                <a:gd name="T8" fmla="*/ 2110 w 3416"/>
                <a:gd name="T9" fmla="*/ 6426 h 6862"/>
                <a:gd name="T10" fmla="*/ 1989 w 3416"/>
                <a:gd name="T11" fmla="*/ 6633 h 6862"/>
                <a:gd name="T12" fmla="*/ 1782 w 3416"/>
                <a:gd name="T13" fmla="*/ 6791 h 6862"/>
                <a:gd name="T14" fmla="*/ 1542 w 3416"/>
                <a:gd name="T15" fmla="*/ 6858 h 6862"/>
                <a:gd name="T16" fmla="*/ 1288 w 3416"/>
                <a:gd name="T17" fmla="*/ 6835 h 6862"/>
                <a:gd name="T18" fmla="*/ 1060 w 3416"/>
                <a:gd name="T19" fmla="*/ 6722 h 6862"/>
                <a:gd name="T20" fmla="*/ 889 w 3416"/>
                <a:gd name="T21" fmla="*/ 6535 h 6862"/>
                <a:gd name="T22" fmla="*/ 816 w 3416"/>
                <a:gd name="T23" fmla="*/ 6307 h 6862"/>
                <a:gd name="T24" fmla="*/ 841 w 3416"/>
                <a:gd name="T25" fmla="*/ 6057 h 6862"/>
                <a:gd name="T26" fmla="*/ 962 w 3416"/>
                <a:gd name="T27" fmla="*/ 5850 h 6862"/>
                <a:gd name="T28" fmla="*/ 1167 w 3416"/>
                <a:gd name="T29" fmla="*/ 5693 h 6862"/>
                <a:gd name="T30" fmla="*/ 1411 w 3416"/>
                <a:gd name="T31" fmla="*/ 5623 h 6862"/>
                <a:gd name="T32" fmla="*/ 1674 w 3416"/>
                <a:gd name="T33" fmla="*/ 2 h 6862"/>
                <a:gd name="T34" fmla="*/ 2035 w 3416"/>
                <a:gd name="T35" fmla="*/ 38 h 6862"/>
                <a:gd name="T36" fmla="*/ 2373 w 3416"/>
                <a:gd name="T37" fmla="*/ 125 h 6862"/>
                <a:gd name="T38" fmla="*/ 2676 w 3416"/>
                <a:gd name="T39" fmla="*/ 257 h 6862"/>
                <a:gd name="T40" fmla="*/ 2937 w 3416"/>
                <a:gd name="T41" fmla="*/ 436 h 6862"/>
                <a:gd name="T42" fmla="*/ 3149 w 3416"/>
                <a:gd name="T43" fmla="*/ 660 h 6862"/>
                <a:gd name="T44" fmla="*/ 3306 w 3416"/>
                <a:gd name="T45" fmla="*/ 933 h 6862"/>
                <a:gd name="T46" fmla="*/ 3396 w 3416"/>
                <a:gd name="T47" fmla="*/ 1252 h 6862"/>
                <a:gd name="T48" fmla="*/ 3414 w 3416"/>
                <a:gd name="T49" fmla="*/ 1609 h 6862"/>
                <a:gd name="T50" fmla="*/ 3369 w 3416"/>
                <a:gd name="T51" fmla="*/ 1937 h 6862"/>
                <a:gd name="T52" fmla="*/ 3264 w 3416"/>
                <a:gd name="T53" fmla="*/ 2227 h 6862"/>
                <a:gd name="T54" fmla="*/ 3120 w 3416"/>
                <a:gd name="T55" fmla="*/ 2488 h 6862"/>
                <a:gd name="T56" fmla="*/ 2897 w 3416"/>
                <a:gd name="T57" fmla="*/ 2786 h 6862"/>
                <a:gd name="T58" fmla="*/ 2492 w 3416"/>
                <a:gd name="T59" fmla="*/ 3177 h 6862"/>
                <a:gd name="T60" fmla="*/ 2156 w 3416"/>
                <a:gd name="T61" fmla="*/ 3494 h 6862"/>
                <a:gd name="T62" fmla="*/ 1995 w 3416"/>
                <a:gd name="T63" fmla="*/ 3680 h 6862"/>
                <a:gd name="T64" fmla="*/ 1868 w 3416"/>
                <a:gd name="T65" fmla="*/ 3874 h 6862"/>
                <a:gd name="T66" fmla="*/ 1793 w 3416"/>
                <a:gd name="T67" fmla="*/ 4086 h 6862"/>
                <a:gd name="T68" fmla="*/ 1778 w 3416"/>
                <a:gd name="T69" fmla="*/ 4356 h 6862"/>
                <a:gd name="T70" fmla="*/ 1851 w 3416"/>
                <a:gd name="T71" fmla="*/ 4698 h 6862"/>
                <a:gd name="T72" fmla="*/ 948 w 3416"/>
                <a:gd name="T73" fmla="*/ 4896 h 6862"/>
                <a:gd name="T74" fmla="*/ 908 w 3416"/>
                <a:gd name="T75" fmla="*/ 4761 h 6862"/>
                <a:gd name="T76" fmla="*/ 873 w 3416"/>
                <a:gd name="T77" fmla="*/ 4592 h 6862"/>
                <a:gd name="T78" fmla="*/ 841 w 3416"/>
                <a:gd name="T79" fmla="*/ 4226 h 6862"/>
                <a:gd name="T80" fmla="*/ 870 w 3416"/>
                <a:gd name="T81" fmla="*/ 3955 h 6862"/>
                <a:gd name="T82" fmla="*/ 954 w 3416"/>
                <a:gd name="T83" fmla="*/ 3711 h 6862"/>
                <a:gd name="T84" fmla="*/ 1238 w 3416"/>
                <a:gd name="T85" fmla="*/ 3281 h 6862"/>
                <a:gd name="T86" fmla="*/ 1605 w 3416"/>
                <a:gd name="T87" fmla="*/ 2897 h 6862"/>
                <a:gd name="T88" fmla="*/ 1972 w 3416"/>
                <a:gd name="T89" fmla="*/ 2534 h 6862"/>
                <a:gd name="T90" fmla="*/ 2256 w 3416"/>
                <a:gd name="T91" fmla="*/ 2162 h 6862"/>
                <a:gd name="T92" fmla="*/ 2342 w 3416"/>
                <a:gd name="T93" fmla="*/ 1958 h 6862"/>
                <a:gd name="T94" fmla="*/ 2369 w 3416"/>
                <a:gd name="T95" fmla="*/ 1734 h 6862"/>
                <a:gd name="T96" fmla="*/ 2350 w 3416"/>
                <a:gd name="T97" fmla="*/ 1538 h 6862"/>
                <a:gd name="T98" fmla="*/ 2287 w 3416"/>
                <a:gd name="T99" fmla="*/ 1369 h 6862"/>
                <a:gd name="T100" fmla="*/ 2187 w 3416"/>
                <a:gd name="T101" fmla="*/ 1227 h 6862"/>
                <a:gd name="T102" fmla="*/ 2056 w 3416"/>
                <a:gd name="T103" fmla="*/ 1110 h 6862"/>
                <a:gd name="T104" fmla="*/ 1722 w 3416"/>
                <a:gd name="T105" fmla="*/ 954 h 6862"/>
                <a:gd name="T106" fmla="*/ 1319 w 3416"/>
                <a:gd name="T107" fmla="*/ 902 h 6862"/>
                <a:gd name="T108" fmla="*/ 977 w 3416"/>
                <a:gd name="T109" fmla="*/ 941 h 6862"/>
                <a:gd name="T110" fmla="*/ 643 w 3416"/>
                <a:gd name="T111" fmla="*/ 1056 h 6862"/>
                <a:gd name="T112" fmla="*/ 317 w 3416"/>
                <a:gd name="T113" fmla="*/ 1250 h 6862"/>
                <a:gd name="T114" fmla="*/ 0 w 3416"/>
                <a:gd name="T115" fmla="*/ 1521 h 6862"/>
                <a:gd name="T116" fmla="*/ 288 w 3416"/>
                <a:gd name="T117" fmla="*/ 296 h 6862"/>
                <a:gd name="T118" fmla="*/ 678 w 3416"/>
                <a:gd name="T119" fmla="*/ 142 h 6862"/>
                <a:gd name="T120" fmla="*/ 1073 w 3416"/>
                <a:gd name="T121" fmla="*/ 44 h 6862"/>
                <a:gd name="T122" fmla="*/ 1478 w 3416"/>
                <a:gd name="T123" fmla="*/ 2 h 6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16" h="6862">
                  <a:moveTo>
                    <a:pt x="1478" y="5620"/>
                  </a:moveTo>
                  <a:lnTo>
                    <a:pt x="1544" y="5623"/>
                  </a:lnTo>
                  <a:lnTo>
                    <a:pt x="1607" y="5631"/>
                  </a:lnTo>
                  <a:lnTo>
                    <a:pt x="1666" y="5646"/>
                  </a:lnTo>
                  <a:lnTo>
                    <a:pt x="1726" y="5666"/>
                  </a:lnTo>
                  <a:lnTo>
                    <a:pt x="1784" y="5693"/>
                  </a:lnTo>
                  <a:lnTo>
                    <a:pt x="1839" y="5725"/>
                  </a:lnTo>
                  <a:lnTo>
                    <a:pt x="1891" y="5762"/>
                  </a:lnTo>
                  <a:lnTo>
                    <a:pt x="1943" y="5806"/>
                  </a:lnTo>
                  <a:lnTo>
                    <a:pt x="1989" y="5850"/>
                  </a:lnTo>
                  <a:lnTo>
                    <a:pt x="2027" y="5898"/>
                  </a:lnTo>
                  <a:lnTo>
                    <a:pt x="2062" y="5948"/>
                  </a:lnTo>
                  <a:lnTo>
                    <a:pt x="2089" y="6002"/>
                  </a:lnTo>
                  <a:lnTo>
                    <a:pt x="2110" y="6057"/>
                  </a:lnTo>
                  <a:lnTo>
                    <a:pt x="2125" y="6117"/>
                  </a:lnTo>
                  <a:lnTo>
                    <a:pt x="2135" y="6178"/>
                  </a:lnTo>
                  <a:lnTo>
                    <a:pt x="2137" y="6244"/>
                  </a:lnTo>
                  <a:lnTo>
                    <a:pt x="2135" y="6307"/>
                  </a:lnTo>
                  <a:lnTo>
                    <a:pt x="2125" y="6368"/>
                  </a:lnTo>
                  <a:lnTo>
                    <a:pt x="2110" y="6426"/>
                  </a:lnTo>
                  <a:lnTo>
                    <a:pt x="2089" y="6482"/>
                  </a:lnTo>
                  <a:lnTo>
                    <a:pt x="2062" y="6535"/>
                  </a:lnTo>
                  <a:lnTo>
                    <a:pt x="2027" y="6585"/>
                  </a:lnTo>
                  <a:lnTo>
                    <a:pt x="1989" y="6633"/>
                  </a:lnTo>
                  <a:lnTo>
                    <a:pt x="1943" y="6679"/>
                  </a:lnTo>
                  <a:lnTo>
                    <a:pt x="1891" y="6722"/>
                  </a:lnTo>
                  <a:lnTo>
                    <a:pt x="1837" y="6760"/>
                  </a:lnTo>
                  <a:lnTo>
                    <a:pt x="1782" y="6791"/>
                  </a:lnTo>
                  <a:lnTo>
                    <a:pt x="1724" y="6816"/>
                  </a:lnTo>
                  <a:lnTo>
                    <a:pt x="1664" y="6835"/>
                  </a:lnTo>
                  <a:lnTo>
                    <a:pt x="1605" y="6850"/>
                  </a:lnTo>
                  <a:lnTo>
                    <a:pt x="1542" y="6858"/>
                  </a:lnTo>
                  <a:lnTo>
                    <a:pt x="1478" y="6862"/>
                  </a:lnTo>
                  <a:lnTo>
                    <a:pt x="1413" y="6858"/>
                  </a:lnTo>
                  <a:lnTo>
                    <a:pt x="1350" y="6850"/>
                  </a:lnTo>
                  <a:lnTo>
                    <a:pt x="1288" y="6835"/>
                  </a:lnTo>
                  <a:lnTo>
                    <a:pt x="1229" y="6816"/>
                  </a:lnTo>
                  <a:lnTo>
                    <a:pt x="1169" y="6791"/>
                  </a:lnTo>
                  <a:lnTo>
                    <a:pt x="1113" y="6760"/>
                  </a:lnTo>
                  <a:lnTo>
                    <a:pt x="1060" y="6722"/>
                  </a:lnTo>
                  <a:lnTo>
                    <a:pt x="1008" y="6679"/>
                  </a:lnTo>
                  <a:lnTo>
                    <a:pt x="962" y="6633"/>
                  </a:lnTo>
                  <a:lnTo>
                    <a:pt x="923" y="6585"/>
                  </a:lnTo>
                  <a:lnTo>
                    <a:pt x="889" y="6535"/>
                  </a:lnTo>
                  <a:lnTo>
                    <a:pt x="862" y="6482"/>
                  </a:lnTo>
                  <a:lnTo>
                    <a:pt x="841" y="6426"/>
                  </a:lnTo>
                  <a:lnTo>
                    <a:pt x="825" y="6368"/>
                  </a:lnTo>
                  <a:lnTo>
                    <a:pt x="816" y="6307"/>
                  </a:lnTo>
                  <a:lnTo>
                    <a:pt x="812" y="6244"/>
                  </a:lnTo>
                  <a:lnTo>
                    <a:pt x="816" y="6178"/>
                  </a:lnTo>
                  <a:lnTo>
                    <a:pt x="825" y="6117"/>
                  </a:lnTo>
                  <a:lnTo>
                    <a:pt x="841" y="6057"/>
                  </a:lnTo>
                  <a:lnTo>
                    <a:pt x="862" y="6002"/>
                  </a:lnTo>
                  <a:lnTo>
                    <a:pt x="889" y="5948"/>
                  </a:lnTo>
                  <a:lnTo>
                    <a:pt x="923" y="5898"/>
                  </a:lnTo>
                  <a:lnTo>
                    <a:pt x="962" y="5850"/>
                  </a:lnTo>
                  <a:lnTo>
                    <a:pt x="1008" y="5806"/>
                  </a:lnTo>
                  <a:lnTo>
                    <a:pt x="1060" y="5762"/>
                  </a:lnTo>
                  <a:lnTo>
                    <a:pt x="1113" y="5725"/>
                  </a:lnTo>
                  <a:lnTo>
                    <a:pt x="1167" y="5693"/>
                  </a:lnTo>
                  <a:lnTo>
                    <a:pt x="1225" y="5666"/>
                  </a:lnTo>
                  <a:lnTo>
                    <a:pt x="1286" y="5646"/>
                  </a:lnTo>
                  <a:lnTo>
                    <a:pt x="1348" y="5631"/>
                  </a:lnTo>
                  <a:lnTo>
                    <a:pt x="1411" y="5623"/>
                  </a:lnTo>
                  <a:lnTo>
                    <a:pt x="1478" y="5620"/>
                  </a:lnTo>
                  <a:lnTo>
                    <a:pt x="1478" y="5620"/>
                  </a:lnTo>
                  <a:close/>
                  <a:moveTo>
                    <a:pt x="1580" y="0"/>
                  </a:moveTo>
                  <a:lnTo>
                    <a:pt x="1674" y="2"/>
                  </a:lnTo>
                  <a:lnTo>
                    <a:pt x="1766" y="8"/>
                  </a:lnTo>
                  <a:lnTo>
                    <a:pt x="1856" y="15"/>
                  </a:lnTo>
                  <a:lnTo>
                    <a:pt x="1947" y="25"/>
                  </a:lnTo>
                  <a:lnTo>
                    <a:pt x="2035" y="38"/>
                  </a:lnTo>
                  <a:lnTo>
                    <a:pt x="2121" y="56"/>
                  </a:lnTo>
                  <a:lnTo>
                    <a:pt x="2206" y="75"/>
                  </a:lnTo>
                  <a:lnTo>
                    <a:pt x="2290" y="98"/>
                  </a:lnTo>
                  <a:lnTo>
                    <a:pt x="2373" y="125"/>
                  </a:lnTo>
                  <a:lnTo>
                    <a:pt x="2454" y="154"/>
                  </a:lnTo>
                  <a:lnTo>
                    <a:pt x="2530" y="184"/>
                  </a:lnTo>
                  <a:lnTo>
                    <a:pt x="2605" y="219"/>
                  </a:lnTo>
                  <a:lnTo>
                    <a:pt x="2676" y="257"/>
                  </a:lnTo>
                  <a:lnTo>
                    <a:pt x="2745" y="298"/>
                  </a:lnTo>
                  <a:lnTo>
                    <a:pt x="2813" y="340"/>
                  </a:lnTo>
                  <a:lnTo>
                    <a:pt x="2876" y="386"/>
                  </a:lnTo>
                  <a:lnTo>
                    <a:pt x="2937" y="436"/>
                  </a:lnTo>
                  <a:lnTo>
                    <a:pt x="2995" y="488"/>
                  </a:lnTo>
                  <a:lnTo>
                    <a:pt x="3051" y="543"/>
                  </a:lnTo>
                  <a:lnTo>
                    <a:pt x="3101" y="601"/>
                  </a:lnTo>
                  <a:lnTo>
                    <a:pt x="3149" y="660"/>
                  </a:lnTo>
                  <a:lnTo>
                    <a:pt x="3193" y="724"/>
                  </a:lnTo>
                  <a:lnTo>
                    <a:pt x="3235" y="791"/>
                  </a:lnTo>
                  <a:lnTo>
                    <a:pt x="3272" y="860"/>
                  </a:lnTo>
                  <a:lnTo>
                    <a:pt x="3306" y="933"/>
                  </a:lnTo>
                  <a:lnTo>
                    <a:pt x="3335" y="1008"/>
                  </a:lnTo>
                  <a:lnTo>
                    <a:pt x="3360" y="1087"/>
                  </a:lnTo>
                  <a:lnTo>
                    <a:pt x="3379" y="1167"/>
                  </a:lnTo>
                  <a:lnTo>
                    <a:pt x="3396" y="1252"/>
                  </a:lnTo>
                  <a:lnTo>
                    <a:pt x="3406" y="1338"/>
                  </a:lnTo>
                  <a:lnTo>
                    <a:pt x="3414" y="1428"/>
                  </a:lnTo>
                  <a:lnTo>
                    <a:pt x="3416" y="1521"/>
                  </a:lnTo>
                  <a:lnTo>
                    <a:pt x="3414" y="1609"/>
                  </a:lnTo>
                  <a:lnTo>
                    <a:pt x="3408" y="1695"/>
                  </a:lnTo>
                  <a:lnTo>
                    <a:pt x="3398" y="1778"/>
                  </a:lnTo>
                  <a:lnTo>
                    <a:pt x="3385" y="1858"/>
                  </a:lnTo>
                  <a:lnTo>
                    <a:pt x="3369" y="1937"/>
                  </a:lnTo>
                  <a:lnTo>
                    <a:pt x="3348" y="2012"/>
                  </a:lnTo>
                  <a:lnTo>
                    <a:pt x="3323" y="2087"/>
                  </a:lnTo>
                  <a:lnTo>
                    <a:pt x="3295" y="2158"/>
                  </a:lnTo>
                  <a:lnTo>
                    <a:pt x="3264" y="2227"/>
                  </a:lnTo>
                  <a:lnTo>
                    <a:pt x="3231" y="2294"/>
                  </a:lnTo>
                  <a:lnTo>
                    <a:pt x="3195" y="2360"/>
                  </a:lnTo>
                  <a:lnTo>
                    <a:pt x="3158" y="2425"/>
                  </a:lnTo>
                  <a:lnTo>
                    <a:pt x="3120" y="2488"/>
                  </a:lnTo>
                  <a:lnTo>
                    <a:pt x="3078" y="2552"/>
                  </a:lnTo>
                  <a:lnTo>
                    <a:pt x="3035" y="2611"/>
                  </a:lnTo>
                  <a:lnTo>
                    <a:pt x="2991" y="2671"/>
                  </a:lnTo>
                  <a:lnTo>
                    <a:pt x="2897" y="2786"/>
                  </a:lnTo>
                  <a:lnTo>
                    <a:pt x="2799" y="2891"/>
                  </a:lnTo>
                  <a:lnTo>
                    <a:pt x="2699" y="2993"/>
                  </a:lnTo>
                  <a:lnTo>
                    <a:pt x="2596" y="3087"/>
                  </a:lnTo>
                  <a:lnTo>
                    <a:pt x="2492" y="3177"/>
                  </a:lnTo>
                  <a:lnTo>
                    <a:pt x="2390" y="3268"/>
                  </a:lnTo>
                  <a:lnTo>
                    <a:pt x="2294" y="3358"/>
                  </a:lnTo>
                  <a:lnTo>
                    <a:pt x="2200" y="3450"/>
                  </a:lnTo>
                  <a:lnTo>
                    <a:pt x="2156" y="3494"/>
                  </a:lnTo>
                  <a:lnTo>
                    <a:pt x="2112" y="3540"/>
                  </a:lnTo>
                  <a:lnTo>
                    <a:pt x="2072" y="3586"/>
                  </a:lnTo>
                  <a:lnTo>
                    <a:pt x="2033" y="3634"/>
                  </a:lnTo>
                  <a:lnTo>
                    <a:pt x="1995" y="3680"/>
                  </a:lnTo>
                  <a:lnTo>
                    <a:pt x="1960" y="3728"/>
                  </a:lnTo>
                  <a:lnTo>
                    <a:pt x="1928" y="3776"/>
                  </a:lnTo>
                  <a:lnTo>
                    <a:pt x="1897" y="3826"/>
                  </a:lnTo>
                  <a:lnTo>
                    <a:pt x="1868" y="3874"/>
                  </a:lnTo>
                  <a:lnTo>
                    <a:pt x="1843" y="3926"/>
                  </a:lnTo>
                  <a:lnTo>
                    <a:pt x="1822" y="3978"/>
                  </a:lnTo>
                  <a:lnTo>
                    <a:pt x="1805" y="4032"/>
                  </a:lnTo>
                  <a:lnTo>
                    <a:pt x="1793" y="4086"/>
                  </a:lnTo>
                  <a:lnTo>
                    <a:pt x="1784" y="4143"/>
                  </a:lnTo>
                  <a:lnTo>
                    <a:pt x="1778" y="4199"/>
                  </a:lnTo>
                  <a:lnTo>
                    <a:pt x="1776" y="4258"/>
                  </a:lnTo>
                  <a:lnTo>
                    <a:pt x="1778" y="4356"/>
                  </a:lnTo>
                  <a:lnTo>
                    <a:pt x="1787" y="4448"/>
                  </a:lnTo>
                  <a:lnTo>
                    <a:pt x="1805" y="4537"/>
                  </a:lnTo>
                  <a:lnTo>
                    <a:pt x="1826" y="4621"/>
                  </a:lnTo>
                  <a:lnTo>
                    <a:pt x="1851" y="4698"/>
                  </a:lnTo>
                  <a:lnTo>
                    <a:pt x="1878" y="4771"/>
                  </a:lnTo>
                  <a:lnTo>
                    <a:pt x="1903" y="4836"/>
                  </a:lnTo>
                  <a:lnTo>
                    <a:pt x="1928" y="4896"/>
                  </a:lnTo>
                  <a:lnTo>
                    <a:pt x="948" y="4896"/>
                  </a:lnTo>
                  <a:lnTo>
                    <a:pt x="937" y="4865"/>
                  </a:lnTo>
                  <a:lnTo>
                    <a:pt x="927" y="4832"/>
                  </a:lnTo>
                  <a:lnTo>
                    <a:pt x="918" y="4798"/>
                  </a:lnTo>
                  <a:lnTo>
                    <a:pt x="908" y="4761"/>
                  </a:lnTo>
                  <a:lnTo>
                    <a:pt x="898" y="4723"/>
                  </a:lnTo>
                  <a:lnTo>
                    <a:pt x="891" y="4681"/>
                  </a:lnTo>
                  <a:lnTo>
                    <a:pt x="881" y="4638"/>
                  </a:lnTo>
                  <a:lnTo>
                    <a:pt x="873" y="4592"/>
                  </a:lnTo>
                  <a:lnTo>
                    <a:pt x="860" y="4500"/>
                  </a:lnTo>
                  <a:lnTo>
                    <a:pt x="848" y="4408"/>
                  </a:lnTo>
                  <a:lnTo>
                    <a:pt x="843" y="4316"/>
                  </a:lnTo>
                  <a:lnTo>
                    <a:pt x="841" y="4226"/>
                  </a:lnTo>
                  <a:lnTo>
                    <a:pt x="843" y="4155"/>
                  </a:lnTo>
                  <a:lnTo>
                    <a:pt x="848" y="4087"/>
                  </a:lnTo>
                  <a:lnTo>
                    <a:pt x="856" y="4020"/>
                  </a:lnTo>
                  <a:lnTo>
                    <a:pt x="870" y="3955"/>
                  </a:lnTo>
                  <a:lnTo>
                    <a:pt x="885" y="3892"/>
                  </a:lnTo>
                  <a:lnTo>
                    <a:pt x="904" y="3830"/>
                  </a:lnTo>
                  <a:lnTo>
                    <a:pt x="929" y="3771"/>
                  </a:lnTo>
                  <a:lnTo>
                    <a:pt x="954" y="3711"/>
                  </a:lnTo>
                  <a:lnTo>
                    <a:pt x="1016" y="3600"/>
                  </a:lnTo>
                  <a:lnTo>
                    <a:pt x="1083" y="3490"/>
                  </a:lnTo>
                  <a:lnTo>
                    <a:pt x="1158" y="3385"/>
                  </a:lnTo>
                  <a:lnTo>
                    <a:pt x="1238" y="3281"/>
                  </a:lnTo>
                  <a:lnTo>
                    <a:pt x="1325" y="3183"/>
                  </a:lnTo>
                  <a:lnTo>
                    <a:pt x="1415" y="3085"/>
                  </a:lnTo>
                  <a:lnTo>
                    <a:pt x="1509" y="2989"/>
                  </a:lnTo>
                  <a:lnTo>
                    <a:pt x="1605" y="2897"/>
                  </a:lnTo>
                  <a:lnTo>
                    <a:pt x="1703" y="2803"/>
                  </a:lnTo>
                  <a:lnTo>
                    <a:pt x="1797" y="2713"/>
                  </a:lnTo>
                  <a:lnTo>
                    <a:pt x="1885" y="2623"/>
                  </a:lnTo>
                  <a:lnTo>
                    <a:pt x="1972" y="2534"/>
                  </a:lnTo>
                  <a:lnTo>
                    <a:pt x="2054" y="2444"/>
                  </a:lnTo>
                  <a:lnTo>
                    <a:pt x="2129" y="2352"/>
                  </a:lnTo>
                  <a:lnTo>
                    <a:pt x="2196" y="2258"/>
                  </a:lnTo>
                  <a:lnTo>
                    <a:pt x="2256" y="2162"/>
                  </a:lnTo>
                  <a:lnTo>
                    <a:pt x="2283" y="2112"/>
                  </a:lnTo>
                  <a:lnTo>
                    <a:pt x="2306" y="2062"/>
                  </a:lnTo>
                  <a:lnTo>
                    <a:pt x="2325" y="2010"/>
                  </a:lnTo>
                  <a:lnTo>
                    <a:pt x="2342" y="1958"/>
                  </a:lnTo>
                  <a:lnTo>
                    <a:pt x="2354" y="1905"/>
                  </a:lnTo>
                  <a:lnTo>
                    <a:pt x="2363" y="1849"/>
                  </a:lnTo>
                  <a:lnTo>
                    <a:pt x="2367" y="1791"/>
                  </a:lnTo>
                  <a:lnTo>
                    <a:pt x="2369" y="1734"/>
                  </a:lnTo>
                  <a:lnTo>
                    <a:pt x="2369" y="1684"/>
                  </a:lnTo>
                  <a:lnTo>
                    <a:pt x="2365" y="1634"/>
                  </a:lnTo>
                  <a:lnTo>
                    <a:pt x="2358" y="1586"/>
                  </a:lnTo>
                  <a:lnTo>
                    <a:pt x="2350" y="1538"/>
                  </a:lnTo>
                  <a:lnTo>
                    <a:pt x="2336" y="1494"/>
                  </a:lnTo>
                  <a:lnTo>
                    <a:pt x="2323" y="1451"/>
                  </a:lnTo>
                  <a:lnTo>
                    <a:pt x="2306" y="1409"/>
                  </a:lnTo>
                  <a:lnTo>
                    <a:pt x="2287" y="1369"/>
                  </a:lnTo>
                  <a:lnTo>
                    <a:pt x="2265" y="1330"/>
                  </a:lnTo>
                  <a:lnTo>
                    <a:pt x="2240" y="1294"/>
                  </a:lnTo>
                  <a:lnTo>
                    <a:pt x="2216" y="1259"/>
                  </a:lnTo>
                  <a:lnTo>
                    <a:pt x="2187" y="1227"/>
                  </a:lnTo>
                  <a:lnTo>
                    <a:pt x="2158" y="1194"/>
                  </a:lnTo>
                  <a:lnTo>
                    <a:pt x="2125" y="1165"/>
                  </a:lnTo>
                  <a:lnTo>
                    <a:pt x="2093" y="1137"/>
                  </a:lnTo>
                  <a:lnTo>
                    <a:pt x="2056" y="1110"/>
                  </a:lnTo>
                  <a:lnTo>
                    <a:pt x="1981" y="1060"/>
                  </a:lnTo>
                  <a:lnTo>
                    <a:pt x="1899" y="1018"/>
                  </a:lnTo>
                  <a:lnTo>
                    <a:pt x="1812" y="983"/>
                  </a:lnTo>
                  <a:lnTo>
                    <a:pt x="1722" y="954"/>
                  </a:lnTo>
                  <a:lnTo>
                    <a:pt x="1626" y="931"/>
                  </a:lnTo>
                  <a:lnTo>
                    <a:pt x="1526" y="916"/>
                  </a:lnTo>
                  <a:lnTo>
                    <a:pt x="1424" y="906"/>
                  </a:lnTo>
                  <a:lnTo>
                    <a:pt x="1319" y="902"/>
                  </a:lnTo>
                  <a:lnTo>
                    <a:pt x="1232" y="904"/>
                  </a:lnTo>
                  <a:lnTo>
                    <a:pt x="1148" y="912"/>
                  </a:lnTo>
                  <a:lnTo>
                    <a:pt x="1062" y="923"/>
                  </a:lnTo>
                  <a:lnTo>
                    <a:pt x="977" y="941"/>
                  </a:lnTo>
                  <a:lnTo>
                    <a:pt x="893" y="962"/>
                  </a:lnTo>
                  <a:lnTo>
                    <a:pt x="810" y="989"/>
                  </a:lnTo>
                  <a:lnTo>
                    <a:pt x="726" y="1021"/>
                  </a:lnTo>
                  <a:lnTo>
                    <a:pt x="643" y="1056"/>
                  </a:lnTo>
                  <a:lnTo>
                    <a:pt x="560" y="1098"/>
                  </a:lnTo>
                  <a:lnTo>
                    <a:pt x="480" y="1144"/>
                  </a:lnTo>
                  <a:lnTo>
                    <a:pt x="397" y="1194"/>
                  </a:lnTo>
                  <a:lnTo>
                    <a:pt x="317" y="1250"/>
                  </a:lnTo>
                  <a:lnTo>
                    <a:pt x="238" y="1311"/>
                  </a:lnTo>
                  <a:lnTo>
                    <a:pt x="157" y="1375"/>
                  </a:lnTo>
                  <a:lnTo>
                    <a:pt x="79" y="1446"/>
                  </a:lnTo>
                  <a:lnTo>
                    <a:pt x="0" y="1521"/>
                  </a:lnTo>
                  <a:lnTo>
                    <a:pt x="0" y="447"/>
                  </a:lnTo>
                  <a:lnTo>
                    <a:pt x="96" y="394"/>
                  </a:lnTo>
                  <a:lnTo>
                    <a:pt x="192" y="342"/>
                  </a:lnTo>
                  <a:lnTo>
                    <a:pt x="288" y="296"/>
                  </a:lnTo>
                  <a:lnTo>
                    <a:pt x="384" y="252"/>
                  </a:lnTo>
                  <a:lnTo>
                    <a:pt x="482" y="211"/>
                  </a:lnTo>
                  <a:lnTo>
                    <a:pt x="580" y="175"/>
                  </a:lnTo>
                  <a:lnTo>
                    <a:pt x="678" y="142"/>
                  </a:lnTo>
                  <a:lnTo>
                    <a:pt x="776" y="113"/>
                  </a:lnTo>
                  <a:lnTo>
                    <a:pt x="875" y="86"/>
                  </a:lnTo>
                  <a:lnTo>
                    <a:pt x="973" y="63"/>
                  </a:lnTo>
                  <a:lnTo>
                    <a:pt x="1073" y="44"/>
                  </a:lnTo>
                  <a:lnTo>
                    <a:pt x="1175" y="29"/>
                  </a:lnTo>
                  <a:lnTo>
                    <a:pt x="1275" y="17"/>
                  </a:lnTo>
                  <a:lnTo>
                    <a:pt x="1376" y="8"/>
                  </a:lnTo>
                  <a:lnTo>
                    <a:pt x="1478" y="2"/>
                  </a:lnTo>
                  <a:lnTo>
                    <a:pt x="1580" y="0"/>
                  </a:lnTo>
                  <a:lnTo>
                    <a:pt x="1580" y="0"/>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47" name="Group 127"/>
            <p:cNvGrpSpPr/>
            <p:nvPr/>
          </p:nvGrpSpPr>
          <p:grpSpPr bwMode="black">
            <a:xfrm>
              <a:off x="9129869" y="4013129"/>
              <a:ext cx="224537" cy="217941"/>
              <a:chOff x="8754070" y="3848870"/>
              <a:chExt cx="195501" cy="189808"/>
            </a:xfrm>
            <a:solidFill>
              <a:schemeClr val="accent3"/>
            </a:solidFill>
          </p:grpSpPr>
          <p:sp>
            <p:nvSpPr>
              <p:cNvPr id="63"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accent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64"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accent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65"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accent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grpSp>
          <p:nvGrpSpPr>
            <p:cNvPr id="48" name="Group 128"/>
            <p:cNvGrpSpPr/>
            <p:nvPr/>
          </p:nvGrpSpPr>
          <p:grpSpPr bwMode="black">
            <a:xfrm>
              <a:off x="10761928" y="2798698"/>
              <a:ext cx="169765" cy="164777"/>
              <a:chOff x="8754070" y="3848870"/>
              <a:chExt cx="195501" cy="189808"/>
            </a:xfrm>
            <a:solidFill>
              <a:schemeClr val="accent3"/>
            </a:solidFill>
          </p:grpSpPr>
          <p:sp>
            <p:nvSpPr>
              <p:cNvPr id="60"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61"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62"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grpSp>
          <p:nvGrpSpPr>
            <p:cNvPr id="49" name="Group 129"/>
            <p:cNvGrpSpPr/>
            <p:nvPr/>
          </p:nvGrpSpPr>
          <p:grpSpPr bwMode="black">
            <a:xfrm>
              <a:off x="11480048" y="4331698"/>
              <a:ext cx="258282" cy="250695"/>
              <a:chOff x="8754070" y="3848870"/>
              <a:chExt cx="195501" cy="189808"/>
            </a:xfrm>
            <a:solidFill>
              <a:schemeClr val="accent3"/>
            </a:solidFill>
          </p:grpSpPr>
          <p:sp>
            <p:nvSpPr>
              <p:cNvPr id="57"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58"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59"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sp>
          <p:nvSpPr>
            <p:cNvPr id="50" name="Rectangle 78"/>
            <p:cNvSpPr/>
            <p:nvPr/>
          </p:nvSpPr>
          <p:spPr bwMode="auto">
            <a:xfrm rot="10800000">
              <a:off x="10192541" y="169731"/>
              <a:ext cx="1078067" cy="635836"/>
            </a:xfrm>
            <a:custGeom>
              <a:avLst/>
              <a:gdLst>
                <a:gd name="connsiteX0" fmla="*/ 0 w 2544741"/>
                <a:gd name="connsiteY0" fmla="*/ 0 h 855488"/>
                <a:gd name="connsiteX1" fmla="*/ 2544741 w 2544741"/>
                <a:gd name="connsiteY1" fmla="*/ 0 h 855488"/>
                <a:gd name="connsiteX2" fmla="*/ 2544741 w 2544741"/>
                <a:gd name="connsiteY2" fmla="*/ 855488 h 855488"/>
                <a:gd name="connsiteX3" fmla="*/ 0 w 2544741"/>
                <a:gd name="connsiteY3" fmla="*/ 855488 h 855488"/>
                <a:gd name="connsiteX4" fmla="*/ 0 w 2544741"/>
                <a:gd name="connsiteY4" fmla="*/ 0 h 855488"/>
                <a:gd name="connsiteX0" fmla="*/ 2544741 w 2636181"/>
                <a:gd name="connsiteY0" fmla="*/ 855488 h 946928"/>
                <a:gd name="connsiteX1" fmla="*/ 0 w 2636181"/>
                <a:gd name="connsiteY1" fmla="*/ 855488 h 946928"/>
                <a:gd name="connsiteX2" fmla="*/ 0 w 2636181"/>
                <a:gd name="connsiteY2" fmla="*/ 0 h 946928"/>
                <a:gd name="connsiteX3" fmla="*/ 2544741 w 2636181"/>
                <a:gd name="connsiteY3" fmla="*/ 0 h 946928"/>
                <a:gd name="connsiteX4" fmla="*/ 2636181 w 2636181"/>
                <a:gd name="connsiteY4" fmla="*/ 946928 h 946928"/>
                <a:gd name="connsiteX0" fmla="*/ 0 w 2636181"/>
                <a:gd name="connsiteY0" fmla="*/ 855488 h 946928"/>
                <a:gd name="connsiteX1" fmla="*/ 0 w 2636181"/>
                <a:gd name="connsiteY1" fmla="*/ 0 h 946928"/>
                <a:gd name="connsiteX2" fmla="*/ 2544741 w 2636181"/>
                <a:gd name="connsiteY2" fmla="*/ 0 h 946928"/>
                <a:gd name="connsiteX3" fmla="*/ 2636181 w 2636181"/>
                <a:gd name="connsiteY3" fmla="*/ 946928 h 946928"/>
                <a:gd name="connsiteX0" fmla="*/ 0 w 2549095"/>
                <a:gd name="connsiteY0" fmla="*/ 855488 h 946928"/>
                <a:gd name="connsiteX1" fmla="*/ 0 w 2549095"/>
                <a:gd name="connsiteY1" fmla="*/ 0 h 946928"/>
                <a:gd name="connsiteX2" fmla="*/ 2544741 w 2549095"/>
                <a:gd name="connsiteY2" fmla="*/ 0 h 946928"/>
                <a:gd name="connsiteX3" fmla="*/ 2549095 w 2549095"/>
                <a:gd name="connsiteY3" fmla="*/ 946928 h 946928"/>
                <a:gd name="connsiteX0" fmla="*/ 0 w 2556715"/>
                <a:gd name="connsiteY0" fmla="*/ 855488 h 855488"/>
                <a:gd name="connsiteX1" fmla="*/ 0 w 2556715"/>
                <a:gd name="connsiteY1" fmla="*/ 0 h 855488"/>
                <a:gd name="connsiteX2" fmla="*/ 2544741 w 2556715"/>
                <a:gd name="connsiteY2" fmla="*/ 0 h 855488"/>
                <a:gd name="connsiteX3" fmla="*/ 2556715 w 255671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 name="connsiteX4" fmla="*/ 0 w 2549095"/>
                <a:gd name="connsiteY4" fmla="*/ 855488 h 86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095" h="866096">
                  <a:moveTo>
                    <a:pt x="0" y="855488"/>
                  </a:moveTo>
                  <a:lnTo>
                    <a:pt x="0" y="0"/>
                  </a:lnTo>
                  <a:lnTo>
                    <a:pt x="2544741" y="0"/>
                  </a:lnTo>
                  <a:cubicBezTo>
                    <a:pt x="2544741" y="285163"/>
                    <a:pt x="2549095" y="866096"/>
                    <a:pt x="2549095" y="866096"/>
                  </a:cubicBezTo>
                  <a:lnTo>
                    <a:pt x="0" y="855488"/>
                  </a:lnTo>
                  <a:close/>
                </a:path>
              </a:pathLst>
            </a:custGeom>
            <a:solidFill>
              <a:schemeClr val="bg1"/>
            </a:solidFill>
            <a:ln w="381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Freeform 74"/>
            <p:cNvSpPr>
              <a:spLocks noEditPoints="1"/>
            </p:cNvSpPr>
            <p:nvPr/>
          </p:nvSpPr>
          <p:spPr bwMode="black">
            <a:xfrm>
              <a:off x="10571374" y="191043"/>
              <a:ext cx="609623" cy="521468"/>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1"/>
            </a:solidFill>
            <a:ln>
              <a:noFill/>
            </a:ln>
          </p:spPr>
          <p:txBody>
            <a:bodyPr vert="horz" wrap="square" lIns="80675" tIns="40338" rIns="80675" bIns="40338" numCol="1" anchor="t" anchorCtr="0" compatLnSpc="1">
              <a:prstTxWarp prst="textNoShape">
                <a:avLst/>
              </a:prstTxWarp>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88"/>
            <p:cNvSpPr>
              <a:spLocks noEditPoints="1"/>
            </p:cNvSpPr>
            <p:nvPr/>
          </p:nvSpPr>
          <p:spPr bwMode="auto">
            <a:xfrm>
              <a:off x="10286499" y="459125"/>
              <a:ext cx="311801" cy="26447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3"/>
            </a:solidFill>
            <a:ln w="25400"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l" defTabSz="806586" rtl="0" eaLnBrk="1" fontAlgn="auto" latinLnBrk="1" hangingPunct="1">
                <a:lnSpc>
                  <a:spcPct val="100000"/>
                </a:lnSpc>
                <a:spcBef>
                  <a:spcPts val="0"/>
                </a:spcBef>
                <a:spcAft>
                  <a:spcPts val="0"/>
                </a:spcAft>
                <a:buClrTx/>
                <a:buSzTx/>
                <a:buFontTx/>
                <a:buNone/>
                <a:tabLst/>
                <a:defRPr/>
              </a:pPr>
              <a:endParaRPr kumimoji="0" lang="en-US" sz="2157" b="0" i="0" u="none" strike="noStrike" kern="0" cap="none" spc="-132" normalizeH="0" baseline="0" noProof="0" dirty="0">
                <a:ln>
                  <a:noFill/>
                </a:ln>
                <a:solidFill>
                  <a:srgbClr val="000000">
                    <a:alpha val="99000"/>
                  </a:srgbClr>
                </a:solidFill>
                <a:effectLst/>
                <a:uLnTx/>
                <a:uFillTx/>
                <a:latin typeface="Segoe UI"/>
                <a:ea typeface="+mn-ea"/>
                <a:cs typeface="+mn-cs"/>
                <a:sym typeface="Segoe UI"/>
              </a:endParaRPr>
            </a:p>
          </p:txBody>
        </p:sp>
        <p:grpSp>
          <p:nvGrpSpPr>
            <p:cNvPr id="53" name="Group 134"/>
            <p:cNvGrpSpPr/>
            <p:nvPr/>
          </p:nvGrpSpPr>
          <p:grpSpPr>
            <a:xfrm rot="5400000">
              <a:off x="11894264" y="3458260"/>
              <a:ext cx="670991" cy="186017"/>
              <a:chOff x="10576225" y="1124579"/>
              <a:chExt cx="607702" cy="168471"/>
            </a:xfrm>
            <a:solidFill>
              <a:schemeClr val="accent1"/>
            </a:solidFill>
          </p:grpSpPr>
          <p:sp>
            <p:nvSpPr>
              <p:cNvPr id="55" name="Freeform 25"/>
              <p:cNvSpPr>
                <a:spLocks noEditPoints="1"/>
              </p:cNvSpPr>
              <p:nvPr/>
            </p:nvSpPr>
            <p:spPr bwMode="auto">
              <a:xfrm rot="16200000">
                <a:off x="10795840" y="904964"/>
                <a:ext cx="168471" cy="607702"/>
              </a:xfrm>
              <a:custGeom>
                <a:avLst/>
                <a:gdLst>
                  <a:gd name="T0" fmla="*/ 467 w 555"/>
                  <a:gd name="T1" fmla="*/ 0 h 2002"/>
                  <a:gd name="T2" fmla="*/ 87 w 555"/>
                  <a:gd name="T3" fmla="*/ 0 h 2002"/>
                  <a:gd name="T4" fmla="*/ 0 w 555"/>
                  <a:gd name="T5" fmla="*/ 87 h 2002"/>
                  <a:gd name="T6" fmla="*/ 0 w 555"/>
                  <a:gd name="T7" fmla="*/ 1914 h 2002"/>
                  <a:gd name="T8" fmla="*/ 87 w 555"/>
                  <a:gd name="T9" fmla="*/ 2002 h 2002"/>
                  <a:gd name="T10" fmla="*/ 467 w 555"/>
                  <a:gd name="T11" fmla="*/ 2002 h 2002"/>
                  <a:gd name="T12" fmla="*/ 555 w 555"/>
                  <a:gd name="T13" fmla="*/ 1914 h 2002"/>
                  <a:gd name="T14" fmla="*/ 555 w 555"/>
                  <a:gd name="T15" fmla="*/ 87 h 2002"/>
                  <a:gd name="T16" fmla="*/ 467 w 555"/>
                  <a:gd name="T17" fmla="*/ 0 h 2002"/>
                  <a:gd name="T18" fmla="*/ 131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1 w 555"/>
                  <a:gd name="T33" fmla="*/ 1345 h 2002"/>
                  <a:gd name="T34" fmla="*/ 131 w 555"/>
                  <a:gd name="T35" fmla="*/ 182 h 2002"/>
                  <a:gd name="T36" fmla="*/ 277 w 555"/>
                  <a:gd name="T37" fmla="*/ 1884 h 2002"/>
                  <a:gd name="T38" fmla="*/ 131 w 555"/>
                  <a:gd name="T39" fmla="*/ 1739 h 2002"/>
                  <a:gd name="T40" fmla="*/ 277 w 555"/>
                  <a:gd name="T41" fmla="*/ 1592 h 2002"/>
                  <a:gd name="T42" fmla="*/ 424 w 555"/>
                  <a:gd name="T43" fmla="*/ 1739 h 2002"/>
                  <a:gd name="T44" fmla="*/ 277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7" y="0"/>
                    </a:moveTo>
                    <a:cubicBezTo>
                      <a:pt x="87" y="0"/>
                      <a:pt x="87" y="0"/>
                      <a:pt x="87" y="0"/>
                    </a:cubicBezTo>
                    <a:cubicBezTo>
                      <a:pt x="39" y="0"/>
                      <a:pt x="0" y="39"/>
                      <a:pt x="0" y="87"/>
                    </a:cubicBezTo>
                    <a:cubicBezTo>
                      <a:pt x="0" y="1914"/>
                      <a:pt x="0" y="1914"/>
                      <a:pt x="0" y="1914"/>
                    </a:cubicBezTo>
                    <a:cubicBezTo>
                      <a:pt x="0" y="1962"/>
                      <a:pt x="39" y="2002"/>
                      <a:pt x="87" y="2002"/>
                    </a:cubicBezTo>
                    <a:cubicBezTo>
                      <a:pt x="467" y="2002"/>
                      <a:pt x="467" y="2002"/>
                      <a:pt x="467" y="2002"/>
                    </a:cubicBezTo>
                    <a:cubicBezTo>
                      <a:pt x="516" y="2002"/>
                      <a:pt x="555" y="1962"/>
                      <a:pt x="555" y="1914"/>
                    </a:cubicBezTo>
                    <a:cubicBezTo>
                      <a:pt x="555" y="87"/>
                      <a:pt x="555" y="87"/>
                      <a:pt x="555" y="87"/>
                    </a:cubicBezTo>
                    <a:cubicBezTo>
                      <a:pt x="555" y="39"/>
                      <a:pt x="516" y="0"/>
                      <a:pt x="467" y="0"/>
                    </a:cubicBezTo>
                    <a:close/>
                    <a:moveTo>
                      <a:pt x="131" y="182"/>
                    </a:moveTo>
                    <a:cubicBezTo>
                      <a:pt x="131"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1" y="1372"/>
                      <a:pt x="131" y="1345"/>
                    </a:cubicBezTo>
                    <a:lnTo>
                      <a:pt x="131" y="182"/>
                    </a:lnTo>
                    <a:close/>
                    <a:moveTo>
                      <a:pt x="277" y="1884"/>
                    </a:moveTo>
                    <a:cubicBezTo>
                      <a:pt x="197" y="1884"/>
                      <a:pt x="131" y="1819"/>
                      <a:pt x="131" y="1739"/>
                    </a:cubicBezTo>
                    <a:cubicBezTo>
                      <a:pt x="131" y="1658"/>
                      <a:pt x="197" y="1592"/>
                      <a:pt x="277" y="1592"/>
                    </a:cubicBezTo>
                    <a:cubicBezTo>
                      <a:pt x="358" y="1592"/>
                      <a:pt x="424" y="1658"/>
                      <a:pt x="424" y="1739"/>
                    </a:cubicBezTo>
                    <a:cubicBezTo>
                      <a:pt x="424" y="1819"/>
                      <a:pt x="358" y="1884"/>
                      <a:pt x="277" y="1884"/>
                    </a:cubicBezTo>
                    <a:close/>
                  </a:path>
                </a:pathLst>
              </a:custGeom>
              <a:solidFill>
                <a:srgbClr val="00188F"/>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sp>
            <p:nvSpPr>
              <p:cNvPr id="56" name="Oval 46"/>
              <p:cNvSpPr>
                <a:spLocks noChangeArrowheads="1"/>
              </p:cNvSpPr>
              <p:nvPr/>
            </p:nvSpPr>
            <p:spPr bwMode="auto">
              <a:xfrm rot="16200000">
                <a:off x="11080094" y="1184977"/>
                <a:ext cx="47676" cy="47676"/>
              </a:xfrm>
              <a:prstGeom prst="ellipse">
                <a:avLst/>
              </a:prstGeom>
              <a:solidFill>
                <a:srgbClr val="00188F"/>
              </a:solidFill>
              <a:ln w="9525" cap="flat" cmpd="sng" algn="ctr">
                <a:noFill/>
                <a:prstDash val="solid"/>
                <a:headEnd type="none" w="med" len="med"/>
                <a:tailEnd type="none" w="med" len="med"/>
              </a:ln>
              <a:effectLst/>
              <a:extLst/>
            </p:spPr>
            <p:txBody>
              <a:bodyPr vert="horz" wrap="square" lIns="89626" tIns="44812" rIns="89626" bIns="44812" numCol="1" rtlCol="0" anchor="ctr" anchorCtr="0" compatLnSpc="1">
                <a:prstTxWarp prst="textNoShape">
                  <a:avLst/>
                </a:prstTxWarp>
              </a:bodyPr>
              <a:lstStyle/>
              <a:p>
                <a:pPr marL="0" marR="0" lvl="0" indent="0" algn="ctr" defTabSz="895919" rtl="0" eaLnBrk="1" fontAlgn="base" latinLnBrk="1"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sym typeface="Segoe UI" panose="020B0502040204020203" pitchFamily="34" charset="0"/>
                </a:endParaRPr>
              </a:p>
            </p:txBody>
          </p:sp>
        </p:grpSp>
        <p:sp>
          <p:nvSpPr>
            <p:cNvPr id="54" name="Freeform 135"/>
            <p:cNvSpPr/>
            <p:nvPr/>
          </p:nvSpPr>
          <p:spPr bwMode="auto">
            <a:xfrm rot="1813230">
              <a:off x="11332024" y="4794092"/>
              <a:ext cx="264822" cy="213770"/>
            </a:xfrm>
            <a:custGeom>
              <a:avLst/>
              <a:gdLst>
                <a:gd name="connsiteX0" fmla="*/ 185163 w 353329"/>
                <a:gd name="connsiteY0" fmla="*/ 8087 h 285215"/>
                <a:gd name="connsiteX1" fmla="*/ 266438 w 353329"/>
                <a:gd name="connsiteY1" fmla="*/ 29529 h 285215"/>
                <a:gd name="connsiteX2" fmla="*/ 244995 w 353329"/>
                <a:gd name="connsiteY2" fmla="*/ 110804 h 285215"/>
                <a:gd name="connsiteX3" fmla="*/ 179402 w 353329"/>
                <a:gd name="connsiteY3" fmla="*/ 107001 h 285215"/>
                <a:gd name="connsiteX4" fmla="*/ 176872 w 353329"/>
                <a:gd name="connsiteY4" fmla="*/ 104156 h 285215"/>
                <a:gd name="connsiteX5" fmla="*/ 105920 w 353329"/>
                <a:gd name="connsiteY5" fmla="*/ 190360 h 285215"/>
                <a:gd name="connsiteX6" fmla="*/ 110804 w 353329"/>
                <a:gd name="connsiteY6" fmla="*/ 195854 h 285215"/>
                <a:gd name="connsiteX7" fmla="*/ 113808 w 353329"/>
                <a:gd name="connsiteY7" fmla="*/ 218005 h 285215"/>
                <a:gd name="connsiteX8" fmla="*/ 235589 w 353329"/>
                <a:gd name="connsiteY8" fmla="*/ 218005 h 285215"/>
                <a:gd name="connsiteX9" fmla="*/ 236413 w 353329"/>
                <a:gd name="connsiteY9" fmla="*/ 205488 h 285215"/>
                <a:gd name="connsiteX10" fmla="*/ 263967 w 353329"/>
                <a:gd name="connsiteY10" fmla="*/ 169291 h 285215"/>
                <a:gd name="connsiteX11" fmla="*/ 345241 w 353329"/>
                <a:gd name="connsiteY11" fmla="*/ 190734 h 285215"/>
                <a:gd name="connsiteX12" fmla="*/ 323799 w 353329"/>
                <a:gd name="connsiteY12" fmla="*/ 272008 h 285215"/>
                <a:gd name="connsiteX13" fmla="*/ 242525 w 353329"/>
                <a:gd name="connsiteY13" fmla="*/ 250565 h 285215"/>
                <a:gd name="connsiteX14" fmla="*/ 240778 w 353329"/>
                <a:gd name="connsiteY14" fmla="*/ 245437 h 285215"/>
                <a:gd name="connsiteX15" fmla="*/ 114738 w 353329"/>
                <a:gd name="connsiteY15" fmla="*/ 245437 h 285215"/>
                <a:gd name="connsiteX16" fmla="*/ 107002 w 353329"/>
                <a:gd name="connsiteY16" fmla="*/ 261448 h 285215"/>
                <a:gd name="connsiteX17" fmla="*/ 89362 w 353329"/>
                <a:gd name="connsiteY17" fmla="*/ 277128 h 285215"/>
                <a:gd name="connsiteX18" fmla="*/ 8087 w 353329"/>
                <a:gd name="connsiteY18" fmla="*/ 255685 h 285215"/>
                <a:gd name="connsiteX19" fmla="*/ 29530 w 353329"/>
                <a:gd name="connsiteY19" fmla="*/ 174411 h 285215"/>
                <a:gd name="connsiteX20" fmla="*/ 74608 w 353329"/>
                <a:gd name="connsiteY20" fmla="*/ 168300 h 285215"/>
                <a:gd name="connsiteX21" fmla="*/ 84581 w 353329"/>
                <a:gd name="connsiteY21" fmla="*/ 173119 h 285215"/>
                <a:gd name="connsiteX22" fmla="*/ 160736 w 353329"/>
                <a:gd name="connsiteY22" fmla="*/ 80595 h 285215"/>
                <a:gd name="connsiteX23" fmla="*/ 156112 w 353329"/>
                <a:gd name="connsiteY23" fmla="*/ 67019 h 285215"/>
                <a:gd name="connsiteX24" fmla="*/ 185163 w 353329"/>
                <a:gd name="connsiteY24" fmla="*/ 8087 h 2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3329" h="285215">
                  <a:moveTo>
                    <a:pt x="185163" y="8087"/>
                  </a:moveTo>
                  <a:cubicBezTo>
                    <a:pt x="213528" y="-8435"/>
                    <a:pt x="249915" y="1165"/>
                    <a:pt x="266438" y="29529"/>
                  </a:cubicBezTo>
                  <a:cubicBezTo>
                    <a:pt x="282960" y="57894"/>
                    <a:pt x="273360" y="94281"/>
                    <a:pt x="244995" y="110804"/>
                  </a:cubicBezTo>
                  <a:cubicBezTo>
                    <a:pt x="223722" y="123195"/>
                    <a:pt x="197936" y="120893"/>
                    <a:pt x="179402" y="107001"/>
                  </a:cubicBezTo>
                  <a:lnTo>
                    <a:pt x="176872" y="104156"/>
                  </a:lnTo>
                  <a:lnTo>
                    <a:pt x="105920" y="190360"/>
                  </a:lnTo>
                  <a:lnTo>
                    <a:pt x="110804" y="195854"/>
                  </a:lnTo>
                  <a:lnTo>
                    <a:pt x="113808" y="218005"/>
                  </a:lnTo>
                  <a:lnTo>
                    <a:pt x="235589" y="218005"/>
                  </a:lnTo>
                  <a:lnTo>
                    <a:pt x="236413" y="205488"/>
                  </a:lnTo>
                  <a:cubicBezTo>
                    <a:pt x="240293" y="190780"/>
                    <a:pt x="249785" y="177552"/>
                    <a:pt x="263967" y="169291"/>
                  </a:cubicBezTo>
                  <a:cubicBezTo>
                    <a:pt x="292332" y="152769"/>
                    <a:pt x="328719" y="162369"/>
                    <a:pt x="345241" y="190734"/>
                  </a:cubicBezTo>
                  <a:cubicBezTo>
                    <a:pt x="361764" y="219098"/>
                    <a:pt x="352164" y="255486"/>
                    <a:pt x="323799" y="272008"/>
                  </a:cubicBezTo>
                  <a:cubicBezTo>
                    <a:pt x="295434" y="288530"/>
                    <a:pt x="259047" y="278930"/>
                    <a:pt x="242525" y="250565"/>
                  </a:cubicBezTo>
                  <a:lnTo>
                    <a:pt x="240778" y="245437"/>
                  </a:lnTo>
                  <a:lnTo>
                    <a:pt x="114738" y="245437"/>
                  </a:lnTo>
                  <a:lnTo>
                    <a:pt x="107002" y="261448"/>
                  </a:lnTo>
                  <a:cubicBezTo>
                    <a:pt x="102372" y="267625"/>
                    <a:pt x="96453" y="272997"/>
                    <a:pt x="89362" y="277128"/>
                  </a:cubicBezTo>
                  <a:cubicBezTo>
                    <a:pt x="60997" y="293650"/>
                    <a:pt x="24610" y="284050"/>
                    <a:pt x="8087" y="255685"/>
                  </a:cubicBezTo>
                  <a:cubicBezTo>
                    <a:pt x="-8435" y="227321"/>
                    <a:pt x="1165" y="190933"/>
                    <a:pt x="29530" y="174411"/>
                  </a:cubicBezTo>
                  <a:cubicBezTo>
                    <a:pt x="43712" y="166150"/>
                    <a:pt x="59900" y="164419"/>
                    <a:pt x="74608" y="168300"/>
                  </a:cubicBezTo>
                  <a:lnTo>
                    <a:pt x="84581" y="173119"/>
                  </a:lnTo>
                  <a:lnTo>
                    <a:pt x="160736" y="80595"/>
                  </a:lnTo>
                  <a:lnTo>
                    <a:pt x="156112" y="67019"/>
                  </a:lnTo>
                  <a:cubicBezTo>
                    <a:pt x="153172" y="44044"/>
                    <a:pt x="163890" y="20478"/>
                    <a:pt x="185163" y="8087"/>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1"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7" name="Freeform 176"/>
          <p:cNvSpPr>
            <a:spLocks/>
          </p:cNvSpPr>
          <p:nvPr/>
        </p:nvSpPr>
        <p:spPr bwMode="black">
          <a:xfrm>
            <a:off x="6664437" y="1983329"/>
            <a:ext cx="474143" cy="293938"/>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rgbClr val="00188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noAutofit/>
          </a:bodyPr>
          <a:lstStyle/>
          <a:p>
            <a:pPr marL="0" marR="0" lvl="0" indent="0" algn="l" defTabSz="726007" rtl="0" eaLnBrk="1" fontAlgn="auto" latinLnBrk="1"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89" name="직사각형 88"/>
          <p:cNvSpPr/>
          <p:nvPr/>
        </p:nvSpPr>
        <p:spPr>
          <a:xfrm>
            <a:off x="415366" y="516228"/>
            <a:ext cx="6634916" cy="1200329"/>
          </a:xfrm>
          <a:prstGeom prst="rect">
            <a:avLst/>
          </a:prstGeom>
        </p:spPr>
        <p:txBody>
          <a:bodyPr wrap="square">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3600" b="1" dirty="0" smtClean="0">
                <a:solidFill>
                  <a:srgbClr val="0072C6">
                    <a:lumMod val="75000"/>
                  </a:srgbClr>
                </a:solidFill>
                <a:latin typeface="Segoe UI"/>
              </a:rPr>
              <a:t>PaaS</a:t>
            </a:r>
            <a:r>
              <a:rPr lang="ko-KR" altLang="en-US" sz="3600" b="1" dirty="0" smtClean="0">
                <a:solidFill>
                  <a:srgbClr val="0072C6">
                    <a:lumMod val="75000"/>
                  </a:srgbClr>
                </a:solidFill>
                <a:latin typeface="Segoe UI"/>
              </a:rPr>
              <a:t>로 이동하는 </a:t>
            </a:r>
            <a:endParaRPr lang="en-US" altLang="ko-KR" sz="3600" b="1" dirty="0" smtClean="0">
              <a:solidFill>
                <a:srgbClr val="0072C6">
                  <a:lumMod val="75000"/>
                </a:srgbClr>
              </a:solidFill>
              <a:latin typeface="Segoe UI"/>
            </a:endParaRPr>
          </a:p>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0072C6">
                    <a:lumMod val="75000"/>
                  </a:srgbClr>
                </a:solidFill>
                <a:effectLst/>
                <a:uLnTx/>
                <a:uFillTx/>
                <a:latin typeface="Segoe UI"/>
                <a:ea typeface="+mn-ea"/>
                <a:cs typeface="+mn-cs"/>
              </a:rPr>
              <a:t>	</a:t>
            </a:r>
            <a:r>
              <a:rPr kumimoji="0" lang="ko-KR" altLang="en-US" sz="3600" b="1" i="0" u="none" strike="noStrike" kern="1200" cap="none" spc="0" normalizeH="0" baseline="0" noProof="0" dirty="0" smtClean="0">
                <a:ln>
                  <a:noFill/>
                </a:ln>
                <a:solidFill>
                  <a:srgbClr val="0072C6">
                    <a:lumMod val="75000"/>
                  </a:srgbClr>
                </a:solidFill>
                <a:effectLst/>
                <a:uLnTx/>
                <a:uFillTx/>
                <a:latin typeface="Segoe UI"/>
                <a:ea typeface="+mn-ea"/>
                <a:cs typeface="+mn-cs"/>
              </a:rPr>
              <a:t>클라우드 환경</a:t>
            </a:r>
            <a:endParaRPr kumimoji="0" lang="en-US" altLang="ko-KR" sz="3600" b="1" i="0" u="none" strike="noStrike" kern="1200" cap="none" spc="0" normalizeH="0" baseline="0" noProof="0" dirty="0" smtClean="0">
              <a:ln>
                <a:noFill/>
              </a:ln>
              <a:solidFill>
                <a:srgbClr val="0072C6">
                  <a:lumMod val="75000"/>
                </a:srgbClr>
              </a:solidFill>
              <a:effectLst/>
              <a:uLnTx/>
              <a:uFillTx/>
              <a:latin typeface="Segoe UI"/>
              <a:ea typeface="+mn-ea"/>
              <a:cs typeface="+mn-cs"/>
            </a:endParaRPr>
          </a:p>
        </p:txBody>
      </p:sp>
      <p:sp>
        <p:nvSpPr>
          <p:cNvPr id="2" name="TextBox 1"/>
          <p:cNvSpPr txBox="1"/>
          <p:nvPr/>
        </p:nvSpPr>
        <p:spPr>
          <a:xfrm>
            <a:off x="487724" y="3114346"/>
            <a:ext cx="4387611" cy="2376035"/>
          </a:xfrm>
          <a:prstGeom prst="rect">
            <a:avLst/>
          </a:prstGeom>
          <a:noFill/>
        </p:spPr>
        <p:txBody>
          <a:bodyPr wrap="none" lIns="182880" tIns="146304" rIns="182880" bIns="146304" rtlCol="0">
            <a:spAutoFit/>
          </a:bodyPr>
          <a:lstStyle/>
          <a:p>
            <a:pPr marL="0" marR="0" lvl="0" indent="0" algn="l" defTabSz="914400" rtl="0" eaLnBrk="1" fontAlgn="auto" latinLnBrk="1" hangingPunct="1">
              <a:lnSpc>
                <a:spcPct val="90000"/>
              </a:lnSpc>
              <a:spcBef>
                <a:spcPts val="0"/>
              </a:spcBef>
              <a:spcAft>
                <a:spcPts val="600"/>
              </a:spcAft>
              <a:buClrTx/>
              <a:buSzTx/>
              <a:buFontTx/>
              <a:buNone/>
              <a:tabLst/>
              <a:defRPr/>
            </a:pPr>
            <a:r>
              <a:rPr kumimoji="0" lang="ko-KR" altLang="en-US" sz="32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김영욱 </a:t>
            </a:r>
            <a:r>
              <a:rPr kumimoji="0" lang="en-US" altLang="ko-KR" sz="24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Technical Evangelist</a:t>
            </a:r>
          </a:p>
          <a:p>
            <a:pPr marL="0" marR="0" lvl="0" indent="0" algn="l" defTabSz="914400" rtl="0" eaLnBrk="1" fontAlgn="auto" latinLnBrk="1" hangingPunct="1">
              <a:lnSpc>
                <a:spcPct val="90000"/>
              </a:lnSpc>
              <a:spcBef>
                <a:spcPts val="0"/>
              </a:spcBef>
              <a:spcAft>
                <a:spcPts val="600"/>
              </a:spcAft>
              <a:buClrTx/>
              <a:buSzTx/>
              <a:buFontTx/>
              <a:buNone/>
              <a:tabLst/>
              <a:defRPr/>
            </a:pPr>
            <a:r>
              <a:rPr kumimoji="0" lang="ko-KR" altLang="en-US" sz="24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부장</a:t>
            </a:r>
            <a:r>
              <a:rPr kumimoji="0" lang="en-US" altLang="ko-KR" sz="24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 </a:t>
            </a:r>
            <a:r>
              <a:rPr kumimoji="0" lang="en-US" sz="24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DX / Microsoft</a:t>
            </a:r>
          </a:p>
          <a:p>
            <a:pPr marL="0" marR="0" lvl="0" indent="0" algn="l" defTabSz="914400" rtl="0" eaLnBrk="1" fontAlgn="auto" latinLnBrk="1"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1"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youngwook@outlook.com</a:t>
            </a:r>
          </a:p>
          <a:p>
            <a:pPr marL="0" marR="0" lvl="0" indent="0" algn="l" defTabSz="914400" rtl="0" eaLnBrk="1" fontAlgn="auto" latinLnBrk="1"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Blog: Youngwook.com </a:t>
            </a:r>
          </a:p>
        </p:txBody>
      </p:sp>
    </p:spTree>
    <p:extLst>
      <p:ext uri="{BB962C8B-B14F-4D97-AF65-F5344CB8AC3E}">
        <p14:creationId xmlns:p14="http://schemas.microsoft.com/office/powerpoint/2010/main" val="2564697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1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down)">
                                      <p:cBhvr>
                                        <p:cTn id="10" dur="1500"/>
                                        <p:tgtEl>
                                          <p:spTgt spid="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wipe(down)">
                                      <p:cBhvr>
                                        <p:cTn id="13" dur="1500"/>
                                        <p:tgtEl>
                                          <p:spTgt spid="14"/>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down)">
                                      <p:cBhvr>
                                        <p:cTn id="16" dur="1500"/>
                                        <p:tgtEl>
                                          <p:spTgt spid="9"/>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down)">
                                      <p:cBhvr>
                                        <p:cTn id="19" dur="1500"/>
                                        <p:tgtEl>
                                          <p:spTgt spid="11"/>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down)">
                                      <p:cBhvr>
                                        <p:cTn id="22" dur="1500"/>
                                        <p:tgtEl>
                                          <p:spTgt spid="12"/>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down)">
                                      <p:cBhvr>
                                        <p:cTn id="25" dur="1500"/>
                                        <p:tgtEl>
                                          <p:spTgt spid="15"/>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wipe(down)">
                                      <p:cBhvr>
                                        <p:cTn id="28" dur="1500"/>
                                        <p:tgtEl>
                                          <p:spTgt spid="10"/>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up)">
                                      <p:cBhvr>
                                        <p:cTn id="31" dur="1500"/>
                                        <p:tgtEl>
                                          <p:spTgt spid="17"/>
                                        </p:tgtEl>
                                      </p:cBhvr>
                                    </p:animEffect>
                                  </p:childTnLst>
                                </p:cTn>
                              </p:par>
                              <p:par>
                                <p:cTn id="32" presetID="10" presetClass="entr" presetSubtype="0" fill="hold" grpId="0" nodeType="withEffect">
                                  <p:stCondLst>
                                    <p:cond delay="1500"/>
                                  </p:stCondLst>
                                  <p:childTnLst>
                                    <p:set>
                                      <p:cBhvr>
                                        <p:cTn id="33" dur="1" fill="hold">
                                          <p:stCondLst>
                                            <p:cond delay="0"/>
                                          </p:stCondLst>
                                        </p:cTn>
                                        <p:tgtEl>
                                          <p:spTgt spid="87"/>
                                        </p:tgtEl>
                                        <p:attrNameLst>
                                          <p:attrName>style.visibility</p:attrName>
                                        </p:attrNameLst>
                                      </p:cBhvr>
                                      <p:to>
                                        <p:strVal val="visible"/>
                                      </p:to>
                                    </p:set>
                                    <p:animEffect transition="in" filter="fade">
                                      <p:cBhvr>
                                        <p:cTn id="34" dur="500"/>
                                        <p:tgtEl>
                                          <p:spTgt spid="87"/>
                                        </p:tgtEl>
                                      </p:cBhvr>
                                    </p:animEffect>
                                  </p:childTnLst>
                                </p:cTn>
                              </p:par>
                              <p:par>
                                <p:cTn id="35" presetID="22" presetClass="entr" presetSubtype="2" fill="hold" nodeType="withEffect">
                                  <p:stCondLst>
                                    <p:cond delay="1500"/>
                                  </p:stCondLst>
                                  <p:childTnLst>
                                    <p:set>
                                      <p:cBhvr>
                                        <p:cTn id="36" dur="1" fill="hold">
                                          <p:stCondLst>
                                            <p:cond delay="0"/>
                                          </p:stCondLst>
                                        </p:cTn>
                                        <p:tgtEl>
                                          <p:spTgt spid="18"/>
                                        </p:tgtEl>
                                        <p:attrNameLst>
                                          <p:attrName>style.visibility</p:attrName>
                                        </p:attrNameLst>
                                      </p:cBhvr>
                                      <p:to>
                                        <p:strVal val="visible"/>
                                      </p:to>
                                    </p:set>
                                    <p:animEffect transition="in" filter="wipe(right)">
                                      <p:cBhvr>
                                        <p:cTn id="37" dur="1000"/>
                                        <p:tgtEl>
                                          <p:spTgt spid="18"/>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wipe(left)">
                                      <p:cBhvr>
                                        <p:cTn id="40" dur="1000"/>
                                        <p:tgtEl>
                                          <p:spTgt spid="16"/>
                                        </p:tgtEl>
                                      </p:cBhvr>
                                    </p:animEffect>
                                  </p:childTnLst>
                                </p:cTn>
                              </p:par>
                              <p:par>
                                <p:cTn id="41" presetID="10" presetClass="entr" presetSubtype="0" fill="hold" nodeType="withEffect">
                                  <p:stCondLst>
                                    <p:cond delay="150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64" presetClass="path" presetSubtype="0" accel="50000" decel="50000" fill="hold" nodeType="withEffect">
                                  <p:stCondLst>
                                    <p:cond delay="0"/>
                                  </p:stCondLst>
                                  <p:childTnLst>
                                    <p:animMotion origin="layout" path="M 0.00205 -0.11689 L -4.44218E-6 3.60872E-6 " pathEditMode="relative" rAng="0" ptsTypes="AA">
                                      <p:cBhvr>
                                        <p:cTn id="45" dur="1000" fill="hold"/>
                                        <p:tgtEl>
                                          <p:spTgt spid="21"/>
                                        </p:tgtEl>
                                        <p:attrNameLst>
                                          <p:attrName>ppt_x</p:attrName>
                                          <p:attrName>ppt_y</p:attrName>
                                        </p:attrNameLst>
                                      </p:cBhvr>
                                      <p:rCtr x="-102" y="58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87"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1" y="471995"/>
            <a:ext cx="4110834" cy="1771092"/>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en-US" sz="7842"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Semibold" panose="020B0702040204020203" pitchFamily="34" charset="0"/>
              </a:rPr>
              <a:t>~10</a:t>
            </a:r>
            <a:r>
              <a:rPr kumimoji="0" lang="ko-KR" altLang="en-US" sz="7842"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Semibold" panose="020B0702040204020203" pitchFamily="34" charset="0"/>
              </a:rPr>
              <a:t>만</a:t>
            </a:r>
            <a:endParaRPr kumimoji="0" lang="en-US" sz="7842" b="0" i="0" u="none" strike="noStrike" kern="1200" cap="none" spc="0" normalizeH="0" baseline="0" noProof="0" dirty="0">
              <a:ln>
                <a:noFill/>
              </a:ln>
              <a:solidFill>
                <a:srgbClr val="FFFFFF"/>
              </a:solidFill>
              <a:effectLst/>
              <a:uLnTx/>
              <a:uFillTx/>
              <a:latin typeface="Segoe UI Light"/>
              <a:ea typeface="MS PGothic" panose="020B0600070205080204" pitchFamily="34" charset="-128"/>
              <a:cs typeface="Segoe UI Semibold" panose="020B0702040204020203" pitchFamily="34" charset="0"/>
            </a:endParaRPr>
          </a:p>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ko-KR" altLang="en-US" sz="1765"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월간 새로운 </a:t>
            </a:r>
            <a:r>
              <a:rPr kumimoji="0" lang="en-US" altLang="ko-KR" sz="1765"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r>
              <a:rPr kumimoji="0" lang="ko-KR" altLang="en-US" sz="1765"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고객</a:t>
            </a: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10" name="Straight Connector 9"/>
          <p:cNvCxnSpPr/>
          <p:nvPr/>
        </p:nvCxnSpPr>
        <p:spPr>
          <a:xfrm>
            <a:off x="4153746" y="4037505"/>
            <a:ext cx="0" cy="3460529"/>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38254" y="4037505"/>
            <a:ext cx="0" cy="3460529"/>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5726" y="4514133"/>
            <a:ext cx="3775884" cy="2015490"/>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en-US" sz="7842" b="0" i="0" u="none" strike="noStrike" kern="1200" cap="none" spc="0" normalizeH="0" baseline="0" noProof="0" dirty="0">
                <a:ln>
                  <a:noFill/>
                </a:ln>
                <a:solidFill>
                  <a:srgbClr val="FFFFFF"/>
                </a:solidFill>
                <a:effectLst/>
                <a:uLnTx/>
                <a:uFillTx/>
                <a:latin typeface="Segoe UI Light"/>
                <a:ea typeface="MS PGothic" panose="020B0600070205080204" pitchFamily="34" charset="-128"/>
                <a:cs typeface="Segoe UI Semibold" panose="020B0702040204020203" pitchFamily="34" charset="0"/>
              </a:rPr>
              <a:t>1.5</a:t>
            </a:r>
            <a:r>
              <a:rPr kumimoji="0" lang="ko-KR" altLang="en-US" sz="5294"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조</a:t>
            </a:r>
            <a:endParaRPr kumimoji="0" lang="en-US" sz="5294"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ko-KR" alt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월간 </a:t>
            </a: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r>
              <a:rPr kumimoji="0" lang="en-US" sz="1765"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IoT</a:t>
            </a:r>
            <a:r>
              <a:rPr kumimoji="0" lang="ko-KR" alt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에서 처리되는 메세지 수</a:t>
            </a: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20" name="Straight Connector 19"/>
          <p:cNvCxnSpPr/>
          <p:nvPr/>
        </p:nvCxnSpPr>
        <p:spPr>
          <a:xfrm>
            <a:off x="1" y="2842320"/>
            <a:ext cx="12192000"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53746" y="-556721"/>
            <a:ext cx="0" cy="339649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038254" y="-556721"/>
            <a:ext cx="0" cy="339649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038254" y="471995"/>
            <a:ext cx="4153747" cy="24107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en-US" sz="7842" b="0" i="0" u="none" strike="noStrike" kern="0" cap="none" spc="0" normalizeH="0" baseline="0" noProof="0" dirty="0">
                <a:ln>
                  <a:noFill/>
                </a:ln>
                <a:solidFill>
                  <a:srgbClr val="FFFFFF"/>
                </a:solidFill>
                <a:effectLst/>
                <a:uLnTx/>
                <a:uFillTx/>
                <a:latin typeface="Segoe UI Light"/>
                <a:ea typeface="+mn-ea"/>
                <a:cs typeface="Segoe UI Semibold" panose="020B0702040204020203" pitchFamily="34" charset="0"/>
              </a:rPr>
              <a:t>&gt;50</a:t>
            </a:r>
            <a:r>
              <a:rPr kumimoji="0" lang="ko-KR" altLang="en-US" sz="7842" b="0" i="0" u="none" strike="noStrike" kern="0" cap="none" spc="0" normalizeH="0" baseline="0" noProof="0" dirty="0">
                <a:ln>
                  <a:noFill/>
                </a:ln>
                <a:solidFill>
                  <a:srgbClr val="FFFFFF"/>
                </a:solidFill>
                <a:effectLst/>
                <a:uLnTx/>
                <a:uFillTx/>
                <a:latin typeface="Segoe UI Light"/>
                <a:ea typeface="+mn-ea"/>
                <a:cs typeface="Segoe UI Semibold" panose="020B0702040204020203" pitchFamily="34" charset="0"/>
              </a:rPr>
              <a:t>억</a:t>
            </a:r>
            <a:endParaRPr kumimoji="0" lang="en-US" sz="8627"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0" marR="0" lvl="0" indent="0" algn="ctr" defTabSz="896386" rtl="0" eaLnBrk="1" fontAlgn="auto" latinLnBrk="0" hangingPunct="1">
              <a:lnSpc>
                <a:spcPct val="90000"/>
              </a:lnSpc>
              <a:spcBef>
                <a:spcPts val="0"/>
              </a:spcBef>
              <a:spcAft>
                <a:spcPts val="1176"/>
              </a:spcAft>
              <a:buClrTx/>
              <a:buSzTx/>
              <a:buFontTx/>
              <a:buNone/>
              <a:tabLst/>
              <a:defRPr/>
            </a:pPr>
            <a:r>
              <a:rPr kumimoji="0" lang="en-US" altLang="ko-KR" sz="1765"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ctive Directory </a:t>
            </a:r>
          </a:p>
          <a:p>
            <a:pPr marL="0" marR="0" lvl="0" indent="0" algn="ctr" defTabSz="896386" rtl="0" eaLnBrk="1" fontAlgn="auto" latinLnBrk="0" hangingPunct="1">
              <a:lnSpc>
                <a:spcPct val="90000"/>
              </a:lnSpc>
              <a:spcBef>
                <a:spcPts val="0"/>
              </a:spcBef>
              <a:spcAft>
                <a:spcPts val="1176"/>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User </a:t>
            </a:r>
            <a:r>
              <a:rPr kumimoji="0" lang="ko-KR" alt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수</a:t>
            </a: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r>
            <a:b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 name="TextBox 25"/>
          <p:cNvSpPr txBox="1"/>
          <p:nvPr/>
        </p:nvSpPr>
        <p:spPr>
          <a:xfrm>
            <a:off x="4215177" y="4541226"/>
            <a:ext cx="3775884" cy="2015490"/>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en-US" sz="7842" b="0" i="0" u="none" strike="noStrike" kern="1200" cap="none" spc="-206" normalizeH="0" baseline="0" noProof="0" dirty="0">
                <a:ln>
                  <a:noFill/>
                </a:ln>
                <a:solidFill>
                  <a:srgbClr val="FFFFFF"/>
                </a:solidFill>
                <a:effectLst/>
                <a:uLnTx/>
                <a:uFillTx/>
                <a:latin typeface="Segoe UI Light"/>
                <a:ea typeface="MS PGothic" panose="020B0600070205080204" pitchFamily="34" charset="-128"/>
                <a:cs typeface="Segoe UI Semibold" panose="020B0702040204020203" pitchFamily="34" charset="0"/>
              </a:rPr>
              <a:t>777</a:t>
            </a:r>
            <a:r>
              <a:rPr kumimoji="0" lang="ko-KR" altLang="en-US" sz="3529" b="0" i="0" u="none" strike="noStrike" kern="0" cap="none" spc="-206"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조</a:t>
            </a:r>
            <a:endParaRPr kumimoji="0" lang="en-US" sz="7842"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ko-KR" altLang="en-US" sz="1765"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일간 저장소 트렌젝션 수</a:t>
            </a: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r>
            <a:b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 name="TextBox 26"/>
          <p:cNvSpPr txBox="1"/>
          <p:nvPr/>
        </p:nvSpPr>
        <p:spPr>
          <a:xfrm>
            <a:off x="4215177" y="471996"/>
            <a:ext cx="3775884" cy="2015490"/>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en-US" sz="7842" b="0" i="0" u="none" strike="noStrike" kern="1200" cap="none" spc="-206" normalizeH="0" baseline="0" noProof="0" dirty="0">
                <a:ln>
                  <a:noFill/>
                </a:ln>
                <a:solidFill>
                  <a:srgbClr val="FFFFFF"/>
                </a:solidFill>
                <a:effectLst/>
                <a:uLnTx/>
                <a:uFillTx/>
                <a:latin typeface="Segoe UI Light"/>
                <a:ea typeface="MS PGothic" panose="020B0600070205080204" pitchFamily="34" charset="-128"/>
                <a:cs typeface="Segoe UI Semibold" panose="020B0702040204020203" pitchFamily="34" charset="0"/>
              </a:rPr>
              <a:t>&gt;150</a:t>
            </a:r>
            <a:r>
              <a:rPr kumimoji="0" lang="ko-KR" altLang="en-US" sz="7842" b="0" i="0" u="none" strike="noStrike" kern="1200" cap="none" spc="-206" normalizeH="0" baseline="0" noProof="0" dirty="0">
                <a:ln>
                  <a:noFill/>
                </a:ln>
                <a:solidFill>
                  <a:srgbClr val="FFFFFF"/>
                </a:solidFill>
                <a:effectLst/>
                <a:uLnTx/>
                <a:uFillTx/>
                <a:latin typeface="Segoe UI Light"/>
                <a:ea typeface="MS PGothic" panose="020B0600070205080204" pitchFamily="34" charset="-128"/>
                <a:cs typeface="Segoe UI Semibold" panose="020B0702040204020203" pitchFamily="34" charset="0"/>
              </a:rPr>
              <a:t>만</a:t>
            </a:r>
            <a:endParaRPr kumimoji="0" lang="en-US" sz="7842"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r>
              <a:rPr kumimoji="0" lang="ko-KR" alt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위에서 실행되는 </a:t>
            </a:r>
            <a:r>
              <a:rPr kumimoji="0" lang="en-US" altLang="ko-KR" sz="1765"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r>
            <a:br>
              <a:rPr kumimoji="0" lang="en-US" altLang="ko-KR" sz="1765"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bases</a:t>
            </a:r>
            <a:r>
              <a:rPr kumimoji="0" lang="en-US" sz="1765"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ko-KR" altLang="en-US" sz="1765"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수</a:t>
            </a: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9" name="TextBox 28"/>
          <p:cNvSpPr txBox="1"/>
          <p:nvPr/>
        </p:nvSpPr>
        <p:spPr>
          <a:xfrm>
            <a:off x="8014126" y="4541289"/>
            <a:ext cx="4102845" cy="2015490"/>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en-US" sz="7842" b="0" i="0" u="none" strike="noStrike" kern="1200" cap="none" spc="-206" normalizeH="0" baseline="0" noProof="0" dirty="0">
                <a:ln>
                  <a:noFill/>
                </a:ln>
                <a:solidFill>
                  <a:srgbClr val="FFFFFF"/>
                </a:solidFill>
                <a:effectLst/>
                <a:uLnTx/>
                <a:uFillTx/>
                <a:latin typeface="Segoe UI Light"/>
                <a:ea typeface="MS PGothic" panose="020B0600070205080204" pitchFamily="34" charset="-128"/>
                <a:cs typeface="Segoe UI Semibold" panose="020B0702040204020203" pitchFamily="34" charset="0"/>
              </a:rPr>
              <a:t>&gt;40</a:t>
            </a:r>
            <a:r>
              <a:rPr kumimoji="0" lang="en-US" sz="4313" b="0" i="0" u="none" strike="noStrike" kern="1200" cap="none" spc="-206"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endParaRPr kumimoji="0" lang="en-US" sz="7842"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0" marR="0" lvl="0" indent="0" algn="ctr" defTabSz="914367" rtl="0" eaLnBrk="1" fontAlgn="auto" latinLnBrk="0" hangingPunct="1">
              <a:lnSpc>
                <a:spcPct val="90000"/>
              </a:lnSpc>
              <a:spcBef>
                <a:spcPts val="0"/>
              </a:spcBef>
              <a:spcAft>
                <a:spcPts val="1176"/>
              </a:spcAft>
              <a:buClrTx/>
              <a:buSzTx/>
              <a:buFontTx/>
              <a:buNone/>
              <a:tabLst/>
              <a:defRPr/>
            </a:pPr>
            <a:r>
              <a:rPr kumimoji="0" lang="ko-KR" alt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이상의 매출이 </a:t>
            </a: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tart-ups</a:t>
            </a:r>
            <a:r>
              <a:rPr kumimoji="0" lang="ko-KR" alt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과 </a:t>
            </a: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SV(</a:t>
            </a:r>
            <a:r>
              <a:rPr kumimoji="0" lang="ko-KR" alt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개발사</a:t>
            </a:r>
            <a:r>
              <a:rPr kumimoji="0" lang="en-US" altLang="ko-KR"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r>
              <a:rPr kumimoji="0" lang="ko-KR" alt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로부터 발생</a:t>
            </a: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19" name="Straight Connector 18"/>
          <p:cNvCxnSpPr/>
          <p:nvPr/>
        </p:nvCxnSpPr>
        <p:spPr>
          <a:xfrm>
            <a:off x="1" y="4037553"/>
            <a:ext cx="12192000"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960894" y="2877127"/>
            <a:ext cx="5172470" cy="1185785"/>
          </a:xfrm>
          <a:prstGeom prst="rect">
            <a:avLst/>
          </a:prstGeom>
          <a:noFill/>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6470" b="0" i="0" u="none" strike="noStrike" kern="0" cap="none" spc="0" normalizeH="0" baseline="0" noProof="0" dirty="0">
                <a:ln>
                  <a:noFill/>
                </a:ln>
                <a:solidFill>
                  <a:srgbClr val="FFFFFF"/>
                </a:solidFill>
                <a:effectLst/>
                <a:uLnTx/>
                <a:uFillTx/>
                <a:latin typeface="Segoe UI"/>
                <a:ea typeface="+mn-ea"/>
                <a:cs typeface="+mn-cs"/>
              </a:rPr>
              <a:t>Azure </a:t>
            </a:r>
            <a:r>
              <a:rPr kumimoji="0" lang="ko-KR" altLang="en-US" sz="6470" b="0" i="0" u="none" strike="noStrike" kern="0" cap="none" spc="0" normalizeH="0" baseline="0" noProof="0" dirty="0">
                <a:ln>
                  <a:noFill/>
                </a:ln>
                <a:solidFill>
                  <a:srgbClr val="FFFFFF"/>
                </a:solidFill>
                <a:effectLst/>
                <a:uLnTx/>
                <a:uFillTx/>
                <a:latin typeface="Segoe UI"/>
                <a:ea typeface="+mn-ea"/>
                <a:cs typeface="+mn-cs"/>
              </a:rPr>
              <a:t>발자취</a:t>
            </a:r>
            <a:endParaRPr kumimoji="0" lang="en-US" sz="6470" b="0" i="0"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9249373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65"/>
          <p:cNvSpPr/>
          <p:nvPr/>
        </p:nvSpPr>
        <p:spPr bwMode="auto">
          <a:xfrm>
            <a:off x="3207115" y="1380357"/>
            <a:ext cx="8719451" cy="5139135"/>
          </a:xfrm>
          <a:prstGeom prst="rect">
            <a:avLst/>
          </a:prstGeom>
          <a:solidFill>
            <a:srgbClr val="FFFFFF">
              <a:lumMod val="95000"/>
            </a:srgbClr>
          </a:solidFill>
          <a:ln w="9525" cap="flat" cmpd="sng" algn="ctr">
            <a:solidFill>
              <a:srgbClr val="FFFFFF">
                <a:lumMod val="85000"/>
              </a:srgbClr>
            </a:solidFill>
            <a:prstDash val="solid"/>
            <a:headEnd type="none" w="med" len="med"/>
            <a:tailEnd type="none" w="med" len="med"/>
          </a:ln>
          <a:effectLst/>
        </p:spPr>
        <p:txBody>
          <a:bodyPr vert="horz" wrap="square" lIns="91391" tIns="45697" rIns="91391" bIns="45697" numCol="1" spcCol="0" rtlCol="0" anchor="ctr" anchorCtr="0" compatLnSpc="1">
            <a:prstTxWarp prst="textNoShape">
              <a:avLst/>
            </a:prstTxWarp>
          </a:bodyPr>
          <a:lstStyle/>
          <a:p>
            <a:pPr algn="ctr" defTabSz="913612" fontAlgn="base" latinLnBrk="0">
              <a:spcBef>
                <a:spcPct val="0"/>
              </a:spcBef>
              <a:spcAft>
                <a:spcPct val="0"/>
              </a:spcAft>
              <a:defRPr/>
            </a:pPr>
            <a:endParaRPr lang="en-US" sz="2200" kern="0" dirty="0">
              <a:gradFill>
                <a:gsLst>
                  <a:gs pos="0">
                    <a:srgbClr val="FFFFFF"/>
                  </a:gs>
                  <a:gs pos="100000">
                    <a:srgbClr val="FFFFFF"/>
                  </a:gs>
                </a:gsLst>
                <a:lin ang="5400000" scaled="0"/>
              </a:gradFill>
              <a:latin typeface="Segoe UI"/>
            </a:endParaRPr>
          </a:p>
        </p:txBody>
      </p:sp>
      <p:sp>
        <p:nvSpPr>
          <p:cNvPr id="173" name="Rectangle 123"/>
          <p:cNvSpPr/>
          <p:nvPr/>
        </p:nvSpPr>
        <p:spPr>
          <a:xfrm>
            <a:off x="1357190" y="1597133"/>
            <a:ext cx="1866508" cy="639989"/>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ko-KR" altLang="en-US" sz="2000" dirty="0">
                <a:solidFill>
                  <a:srgbClr val="595959">
                    <a:alpha val="99000"/>
                  </a:srgbClr>
                </a:solidFill>
                <a:latin typeface="Segoe UI"/>
                <a:ea typeface="Kozuka Gothic Pro R" pitchFamily="34" charset="-128"/>
              </a:rPr>
              <a:t>일반전산실</a:t>
            </a:r>
            <a:endParaRPr lang="en-US" altLang="ko-KR" sz="2000" dirty="0">
              <a:solidFill>
                <a:srgbClr val="595959">
                  <a:alpha val="99000"/>
                </a:srgbClr>
              </a:solidFill>
              <a:latin typeface="Segoe UI"/>
              <a:ea typeface="Kozuka Gothic Pro R" pitchFamily="34" charset="-128"/>
            </a:endParaRPr>
          </a:p>
          <a:p>
            <a:pPr marL="0" lvl="1" defTabSz="1218602" fontAlgn="base">
              <a:spcAft>
                <a:spcPct val="0"/>
              </a:spcAft>
              <a:defRPr/>
            </a:pPr>
            <a:r>
              <a:rPr lang="en-US" sz="2000" dirty="0">
                <a:solidFill>
                  <a:srgbClr val="595959">
                    <a:alpha val="99000"/>
                  </a:srgbClr>
                </a:solidFill>
                <a:latin typeface="Segoe UI"/>
                <a:ea typeface="Kozuka Gothic Pro R" pitchFamily="34" charset="-128"/>
              </a:rPr>
              <a:t>(</a:t>
            </a:r>
            <a:r>
              <a:rPr lang="ko-KR" altLang="en-US" sz="2000" dirty="0">
                <a:solidFill>
                  <a:srgbClr val="595959">
                    <a:alpha val="99000"/>
                  </a:srgbClr>
                </a:solidFill>
                <a:latin typeface="Segoe UI"/>
                <a:ea typeface="Kozuka Gothic Pro R" pitchFamily="34" charset="-128"/>
              </a:rPr>
              <a:t>자가소유</a:t>
            </a:r>
            <a:r>
              <a:rPr lang="en-US" altLang="ko-KR" sz="2000" dirty="0">
                <a:solidFill>
                  <a:srgbClr val="595959">
                    <a:alpha val="99000"/>
                  </a:srgbClr>
                </a:solidFill>
                <a:latin typeface="Segoe UI"/>
                <a:ea typeface="Kozuka Gothic Pro R" pitchFamily="34" charset="-128"/>
              </a:rPr>
              <a:t>)</a:t>
            </a:r>
            <a:endParaRPr lang="en-US" sz="2000" dirty="0">
              <a:solidFill>
                <a:srgbClr val="595959">
                  <a:alpha val="99000"/>
                </a:srgbClr>
              </a:solidFill>
              <a:latin typeface="Segoe UI"/>
              <a:ea typeface="Kozuka Gothic Pro R" pitchFamily="34" charset="-128"/>
            </a:endParaRPr>
          </a:p>
        </p:txBody>
      </p:sp>
      <p:sp>
        <p:nvSpPr>
          <p:cNvPr id="183" name="Rectangle 127"/>
          <p:cNvSpPr/>
          <p:nvPr/>
        </p:nvSpPr>
        <p:spPr>
          <a:xfrm>
            <a:off x="1336846" y="5551186"/>
            <a:ext cx="1638009" cy="380946"/>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스토리지</a:t>
            </a:r>
            <a:endParaRPr lang="en-US" sz="1500" dirty="0">
              <a:solidFill>
                <a:srgbClr val="FFFFFF">
                  <a:alpha val="99000"/>
                </a:srgbClr>
              </a:solidFill>
              <a:latin typeface="Segoe UI"/>
              <a:ea typeface="Segoe UI" pitchFamily="34" charset="0"/>
              <a:cs typeface="Segoe UI" pitchFamily="34" charset="0"/>
            </a:endParaRPr>
          </a:p>
        </p:txBody>
      </p:sp>
      <p:sp>
        <p:nvSpPr>
          <p:cNvPr id="184" name="Rectangle 128"/>
          <p:cNvSpPr/>
          <p:nvPr/>
        </p:nvSpPr>
        <p:spPr>
          <a:xfrm>
            <a:off x="1336846" y="5096431"/>
            <a:ext cx="1638009" cy="380946"/>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서버</a:t>
            </a:r>
            <a:endParaRPr lang="en-US" sz="1500" dirty="0">
              <a:solidFill>
                <a:srgbClr val="FFFFFF">
                  <a:alpha val="99000"/>
                </a:srgbClr>
              </a:solidFill>
              <a:latin typeface="Segoe UI"/>
              <a:ea typeface="Segoe UI" pitchFamily="34" charset="0"/>
              <a:cs typeface="Segoe UI" pitchFamily="34" charset="0"/>
            </a:endParaRPr>
          </a:p>
        </p:txBody>
      </p:sp>
      <p:sp>
        <p:nvSpPr>
          <p:cNvPr id="185" name="Rectangle 129"/>
          <p:cNvSpPr/>
          <p:nvPr/>
        </p:nvSpPr>
        <p:spPr>
          <a:xfrm>
            <a:off x="1336846" y="6005939"/>
            <a:ext cx="1638009" cy="380946"/>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네트워크</a:t>
            </a:r>
            <a:endParaRPr lang="en-US" sz="1500" dirty="0">
              <a:solidFill>
                <a:srgbClr val="FFFFFF">
                  <a:alpha val="99000"/>
                </a:srgbClr>
              </a:solidFill>
              <a:latin typeface="Segoe UI"/>
              <a:ea typeface="Segoe UI" pitchFamily="34" charset="0"/>
              <a:cs typeface="Segoe UI" pitchFamily="34" charset="0"/>
            </a:endParaRPr>
          </a:p>
        </p:txBody>
      </p:sp>
      <p:sp>
        <p:nvSpPr>
          <p:cNvPr id="186" name="Rectangle 130"/>
          <p:cNvSpPr/>
          <p:nvPr/>
        </p:nvSpPr>
        <p:spPr>
          <a:xfrm>
            <a:off x="1336846" y="4186923"/>
            <a:ext cx="1638009" cy="380946"/>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FFFFFF">
                    <a:alpha val="99000"/>
                  </a:srgbClr>
                </a:solidFill>
                <a:latin typeface="Segoe UI"/>
                <a:ea typeface="Segoe UI" pitchFamily="34" charset="0"/>
                <a:cs typeface="Segoe UI" pitchFamily="34" charset="0"/>
              </a:rPr>
              <a:t>O/S</a:t>
            </a:r>
          </a:p>
        </p:txBody>
      </p:sp>
      <p:sp>
        <p:nvSpPr>
          <p:cNvPr id="187" name="Rectangle 131"/>
          <p:cNvSpPr/>
          <p:nvPr/>
        </p:nvSpPr>
        <p:spPr>
          <a:xfrm>
            <a:off x="1336846" y="3732168"/>
            <a:ext cx="1638009" cy="380946"/>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미들웨어</a:t>
            </a:r>
            <a:endParaRPr lang="en-US" sz="1500" dirty="0">
              <a:solidFill>
                <a:srgbClr val="FFFFFF">
                  <a:alpha val="99000"/>
                </a:srgbClr>
              </a:solidFill>
              <a:latin typeface="Segoe UI"/>
              <a:ea typeface="Segoe UI" pitchFamily="34" charset="0"/>
              <a:cs typeface="Segoe UI" pitchFamily="34" charset="0"/>
            </a:endParaRPr>
          </a:p>
        </p:txBody>
      </p:sp>
      <p:sp>
        <p:nvSpPr>
          <p:cNvPr id="188" name="Rectangle 132"/>
          <p:cNvSpPr/>
          <p:nvPr/>
        </p:nvSpPr>
        <p:spPr>
          <a:xfrm>
            <a:off x="1336846" y="4641677"/>
            <a:ext cx="1638009" cy="380946"/>
          </a:xfrm>
          <a:prstGeom prst="rect">
            <a:avLst/>
          </a:prstGeom>
          <a:solidFill>
            <a:srgbClr val="FF8A00"/>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ko-KR" altLang="en-US" sz="1500">
                <a:solidFill>
                  <a:srgbClr val="FFFFFF">
                    <a:alpha val="99000"/>
                  </a:srgbClr>
                </a:solidFill>
                <a:latin typeface="Segoe UI"/>
                <a:ea typeface="Segoe UI" pitchFamily="34" charset="0"/>
                <a:cs typeface="Segoe UI" pitchFamily="34" charset="0"/>
              </a:rPr>
              <a:t>가상화</a:t>
            </a:r>
            <a:endParaRPr lang="en-US" sz="1500" dirty="0">
              <a:solidFill>
                <a:srgbClr val="FFFFFF">
                  <a:alpha val="99000"/>
                </a:srgbClr>
              </a:solidFill>
              <a:latin typeface="Segoe UI"/>
              <a:ea typeface="Segoe UI" pitchFamily="34" charset="0"/>
              <a:cs typeface="Segoe UI" pitchFamily="34" charset="0"/>
            </a:endParaRPr>
          </a:p>
        </p:txBody>
      </p:sp>
      <p:sp>
        <p:nvSpPr>
          <p:cNvPr id="189" name="Rectangle 133"/>
          <p:cNvSpPr/>
          <p:nvPr/>
        </p:nvSpPr>
        <p:spPr>
          <a:xfrm>
            <a:off x="1336846" y="2822659"/>
            <a:ext cx="1638009" cy="380946"/>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데이터베이스</a:t>
            </a:r>
            <a:endParaRPr lang="en-US" sz="1500" dirty="0">
              <a:solidFill>
                <a:srgbClr val="FFFFFF">
                  <a:alpha val="99000"/>
                </a:srgbClr>
              </a:solidFill>
              <a:latin typeface="Segoe UI"/>
              <a:ea typeface="Segoe UI" pitchFamily="34" charset="0"/>
              <a:cs typeface="Segoe UI" pitchFamily="34" charset="0"/>
            </a:endParaRPr>
          </a:p>
        </p:txBody>
      </p:sp>
      <p:sp>
        <p:nvSpPr>
          <p:cNvPr id="190" name="Rectangle 134"/>
          <p:cNvSpPr/>
          <p:nvPr/>
        </p:nvSpPr>
        <p:spPr>
          <a:xfrm>
            <a:off x="1336846" y="2367905"/>
            <a:ext cx="1638009" cy="380946"/>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프로그램</a:t>
            </a:r>
            <a:endParaRPr lang="en-US" sz="1500" dirty="0">
              <a:solidFill>
                <a:srgbClr val="FFFFFF">
                  <a:alpha val="99000"/>
                </a:srgbClr>
              </a:solidFill>
              <a:latin typeface="Segoe UI"/>
              <a:ea typeface="Segoe UI" pitchFamily="34" charset="0"/>
              <a:cs typeface="Segoe UI" pitchFamily="34" charset="0"/>
            </a:endParaRPr>
          </a:p>
        </p:txBody>
      </p:sp>
      <p:sp>
        <p:nvSpPr>
          <p:cNvPr id="191" name="Rectangle 135"/>
          <p:cNvSpPr/>
          <p:nvPr/>
        </p:nvSpPr>
        <p:spPr>
          <a:xfrm>
            <a:off x="1336846" y="3277413"/>
            <a:ext cx="1638009" cy="380946"/>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방화벽</a:t>
            </a:r>
            <a:endParaRPr lang="en-US" sz="1500" dirty="0">
              <a:solidFill>
                <a:srgbClr val="FFFFFF">
                  <a:alpha val="99000"/>
                </a:srgbClr>
              </a:solidFill>
              <a:latin typeface="Segoe UI"/>
              <a:ea typeface="Segoe UI" pitchFamily="34" charset="0"/>
              <a:cs typeface="Segoe UI" pitchFamily="34" charset="0"/>
            </a:endParaRPr>
          </a:p>
        </p:txBody>
      </p:sp>
      <p:sp>
        <p:nvSpPr>
          <p:cNvPr id="193" name="TextBox 52"/>
          <p:cNvSpPr txBox="1"/>
          <p:nvPr/>
        </p:nvSpPr>
        <p:spPr>
          <a:xfrm>
            <a:off x="796128" y="3964232"/>
            <a:ext cx="400110" cy="810479"/>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ko-KR" altLang="en-US" sz="1400" dirty="0">
                <a:solidFill>
                  <a:srgbClr val="595959">
                    <a:alpha val="99000"/>
                  </a:srgbClr>
                </a:solidFill>
                <a:latin typeface="Segoe UI"/>
                <a:ea typeface="Kozuka Gothic Pro R" pitchFamily="34" charset="-128"/>
              </a:rPr>
              <a:t>직접운영</a:t>
            </a:r>
            <a:endParaRPr lang="en-US" sz="1400" dirty="0">
              <a:solidFill>
                <a:srgbClr val="595959">
                  <a:alpha val="99000"/>
                </a:srgbClr>
              </a:solidFill>
              <a:latin typeface="Segoe UI"/>
              <a:ea typeface="Kozuka Gothic Pro R" pitchFamily="34" charset="-128"/>
            </a:endParaRPr>
          </a:p>
        </p:txBody>
      </p:sp>
      <p:grpSp>
        <p:nvGrpSpPr>
          <p:cNvPr id="194" name="Group 4"/>
          <p:cNvGrpSpPr/>
          <p:nvPr/>
        </p:nvGrpSpPr>
        <p:grpSpPr>
          <a:xfrm>
            <a:off x="3859987" y="1607179"/>
            <a:ext cx="2628764" cy="4779709"/>
            <a:chOff x="3377366" y="1593421"/>
            <a:chExt cx="2629137" cy="4780387"/>
          </a:xfrm>
        </p:grpSpPr>
        <p:sp>
          <p:nvSpPr>
            <p:cNvPr id="195" name="Rectangle 137"/>
            <p:cNvSpPr/>
            <p:nvPr/>
          </p:nvSpPr>
          <p:spPr>
            <a:xfrm>
              <a:off x="3897998" y="1593421"/>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595959">
                      <a:alpha val="99000"/>
                    </a:srgbClr>
                  </a:solidFill>
                  <a:latin typeface="Segoe UI"/>
                  <a:ea typeface="Kozuka Gothic Pro R" pitchFamily="34" charset="-128"/>
                </a:rPr>
                <a:t>Infrastructure</a:t>
              </a:r>
            </a:p>
            <a:p>
              <a:pPr defTabSz="1218702">
                <a:defRPr/>
              </a:pPr>
              <a:r>
                <a:rPr lang="en-US" sz="1600" dirty="0">
                  <a:solidFill>
                    <a:srgbClr val="595959">
                      <a:alpha val="99000"/>
                    </a:srgbClr>
                  </a:solidFill>
                  <a:latin typeface="Segoe UI"/>
                  <a:ea typeface="Kozuka Gothic Pro R" pitchFamily="34" charset="-128"/>
                </a:rPr>
                <a:t>(as a Service)</a:t>
              </a:r>
            </a:p>
          </p:txBody>
        </p:sp>
        <p:sp>
          <p:nvSpPr>
            <p:cNvPr id="196" name="Rectangle 143"/>
            <p:cNvSpPr/>
            <p:nvPr/>
          </p:nvSpPr>
          <p:spPr>
            <a:xfrm>
              <a:off x="3928143" y="5537991"/>
              <a:ext cx="1638241" cy="381000"/>
            </a:xfrm>
            <a:prstGeom prst="rect">
              <a:avLst/>
            </a:prstGeom>
            <a:solidFill>
              <a:srgbClr val="8CC6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스토리지</a:t>
              </a:r>
              <a:endParaRPr lang="en-US" sz="1500" dirty="0">
                <a:solidFill>
                  <a:srgbClr val="FFFFFF">
                    <a:alpha val="99000"/>
                  </a:srgbClr>
                </a:solidFill>
                <a:latin typeface="Segoe UI"/>
                <a:ea typeface="Segoe UI" pitchFamily="34" charset="0"/>
                <a:cs typeface="Segoe UI" pitchFamily="34" charset="0"/>
              </a:endParaRPr>
            </a:p>
          </p:txBody>
        </p:sp>
        <p:sp>
          <p:nvSpPr>
            <p:cNvPr id="197" name="Rectangle 144"/>
            <p:cNvSpPr/>
            <p:nvPr/>
          </p:nvSpPr>
          <p:spPr>
            <a:xfrm>
              <a:off x="3928143" y="5083172"/>
              <a:ext cx="1638241" cy="381000"/>
            </a:xfrm>
            <a:prstGeom prst="rect">
              <a:avLst/>
            </a:prstGeom>
            <a:solidFill>
              <a:srgbClr val="8CC6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서버</a:t>
              </a:r>
              <a:endParaRPr lang="en-US" sz="1500" dirty="0">
                <a:solidFill>
                  <a:srgbClr val="FFFFFF">
                    <a:alpha val="99000"/>
                  </a:srgbClr>
                </a:solidFill>
                <a:latin typeface="Segoe UI"/>
                <a:ea typeface="Segoe UI" pitchFamily="34" charset="0"/>
                <a:cs typeface="Segoe UI" pitchFamily="34" charset="0"/>
              </a:endParaRPr>
            </a:p>
          </p:txBody>
        </p:sp>
        <p:sp>
          <p:nvSpPr>
            <p:cNvPr id="198" name="Rectangle 145"/>
            <p:cNvSpPr/>
            <p:nvPr/>
          </p:nvSpPr>
          <p:spPr>
            <a:xfrm>
              <a:off x="3928143" y="5992808"/>
              <a:ext cx="1638241" cy="381000"/>
            </a:xfrm>
            <a:prstGeom prst="rect">
              <a:avLst/>
            </a:prstGeom>
            <a:solidFill>
              <a:srgbClr val="8CC6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네트워크</a:t>
              </a:r>
              <a:endParaRPr lang="en-US" sz="1500" dirty="0">
                <a:solidFill>
                  <a:srgbClr val="FFFFFF">
                    <a:alpha val="99000"/>
                  </a:srgbClr>
                </a:solidFill>
                <a:latin typeface="Segoe UI"/>
                <a:ea typeface="Segoe UI" pitchFamily="34" charset="0"/>
                <a:cs typeface="Segoe UI" pitchFamily="34" charset="0"/>
              </a:endParaRPr>
            </a:p>
          </p:txBody>
        </p:sp>
        <p:sp>
          <p:nvSpPr>
            <p:cNvPr id="199" name="Rectangle 146"/>
            <p:cNvSpPr/>
            <p:nvPr/>
          </p:nvSpPr>
          <p:spPr>
            <a:xfrm>
              <a:off x="3928143" y="4173534"/>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1218702" latinLnBrk="0">
                <a:defRPr/>
              </a:pPr>
              <a:r>
                <a:rPr lang="en-US" sz="1500" kern="0" dirty="0">
                  <a:solidFill>
                    <a:srgbClr val="FFFFFF">
                      <a:alpha val="99000"/>
                    </a:srgbClr>
                  </a:solidFill>
                  <a:latin typeface="Segoe UI"/>
                  <a:ea typeface="Segoe UI" pitchFamily="34" charset="0"/>
                  <a:cs typeface="Segoe UI" pitchFamily="34" charset="0"/>
                </a:rPr>
                <a:t>O/S</a:t>
              </a:r>
            </a:p>
          </p:txBody>
        </p:sp>
        <p:sp>
          <p:nvSpPr>
            <p:cNvPr id="200" name="Rectangle 147"/>
            <p:cNvSpPr/>
            <p:nvPr/>
          </p:nvSpPr>
          <p:spPr>
            <a:xfrm>
              <a:off x="3928143" y="3718715"/>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미들웨어</a:t>
              </a:r>
              <a:endParaRPr lang="en-US" sz="1500" kern="0" dirty="0">
                <a:solidFill>
                  <a:srgbClr val="FFFFFF">
                    <a:alpha val="99000"/>
                  </a:srgbClr>
                </a:solidFill>
                <a:latin typeface="Segoe UI"/>
                <a:ea typeface="Segoe UI" pitchFamily="34" charset="0"/>
                <a:cs typeface="Segoe UI" pitchFamily="34" charset="0"/>
              </a:endParaRPr>
            </a:p>
          </p:txBody>
        </p:sp>
        <p:sp>
          <p:nvSpPr>
            <p:cNvPr id="201" name="Rectangle 148"/>
            <p:cNvSpPr/>
            <p:nvPr/>
          </p:nvSpPr>
          <p:spPr>
            <a:xfrm>
              <a:off x="3928143" y="4628353"/>
              <a:ext cx="1638241" cy="381000"/>
            </a:xfrm>
            <a:prstGeom prst="rect">
              <a:avLst/>
            </a:prstGeom>
            <a:solidFill>
              <a:srgbClr val="8CC600"/>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702">
                <a:defRPr/>
              </a:pPr>
              <a:r>
                <a:rPr lang="ko-KR" altLang="en-US" sz="1500" dirty="0">
                  <a:solidFill>
                    <a:srgbClr val="FFFFFF">
                      <a:alpha val="99000"/>
                    </a:srgbClr>
                  </a:solidFill>
                  <a:latin typeface="Segoe UI"/>
                  <a:ea typeface="Segoe UI" pitchFamily="34" charset="0"/>
                  <a:cs typeface="Segoe UI" pitchFamily="34" charset="0"/>
                </a:rPr>
                <a:t>가상화</a:t>
              </a:r>
              <a:endParaRPr lang="en-US" sz="1500" dirty="0">
                <a:solidFill>
                  <a:srgbClr val="FFFFFF">
                    <a:alpha val="99000"/>
                  </a:srgbClr>
                </a:solidFill>
                <a:latin typeface="Segoe UI"/>
                <a:ea typeface="Segoe UI" pitchFamily="34" charset="0"/>
                <a:cs typeface="Segoe UI" pitchFamily="34" charset="0"/>
              </a:endParaRPr>
            </a:p>
          </p:txBody>
        </p:sp>
        <p:sp>
          <p:nvSpPr>
            <p:cNvPr id="202" name="Rectangle 149"/>
            <p:cNvSpPr/>
            <p:nvPr/>
          </p:nvSpPr>
          <p:spPr>
            <a:xfrm>
              <a:off x="3928143" y="2809077"/>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데이터베이스</a:t>
              </a:r>
              <a:endParaRPr lang="en-US" sz="1500" kern="0" dirty="0">
                <a:solidFill>
                  <a:srgbClr val="FFFFFF">
                    <a:alpha val="99000"/>
                  </a:srgbClr>
                </a:solidFill>
                <a:latin typeface="Segoe UI"/>
                <a:ea typeface="Segoe UI" pitchFamily="34" charset="0"/>
                <a:cs typeface="Segoe UI" pitchFamily="34" charset="0"/>
              </a:endParaRPr>
            </a:p>
          </p:txBody>
        </p:sp>
        <p:sp>
          <p:nvSpPr>
            <p:cNvPr id="203" name="Rectangle 150"/>
            <p:cNvSpPr/>
            <p:nvPr/>
          </p:nvSpPr>
          <p:spPr>
            <a:xfrm>
              <a:off x="3928143" y="2354258"/>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프로그램</a:t>
              </a:r>
              <a:endParaRPr lang="en-US" sz="1500" kern="0" dirty="0">
                <a:solidFill>
                  <a:srgbClr val="FFFFFF">
                    <a:alpha val="99000"/>
                  </a:srgbClr>
                </a:solidFill>
                <a:latin typeface="Segoe UI"/>
                <a:ea typeface="Segoe UI" pitchFamily="34" charset="0"/>
                <a:cs typeface="Segoe UI" pitchFamily="34" charset="0"/>
              </a:endParaRPr>
            </a:p>
          </p:txBody>
        </p:sp>
        <p:sp>
          <p:nvSpPr>
            <p:cNvPr id="204" name="Rectangle 151"/>
            <p:cNvSpPr/>
            <p:nvPr/>
          </p:nvSpPr>
          <p:spPr>
            <a:xfrm>
              <a:off x="3928143" y="3263896"/>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방화벽</a:t>
              </a:r>
              <a:endParaRPr lang="en-US" sz="1500" kern="0" dirty="0">
                <a:solidFill>
                  <a:srgbClr val="FFFFFF">
                    <a:alpha val="99000"/>
                  </a:srgbClr>
                </a:solidFill>
                <a:latin typeface="Segoe UI"/>
                <a:ea typeface="Segoe UI" pitchFamily="34" charset="0"/>
                <a:cs typeface="Segoe UI" pitchFamily="34" charset="0"/>
              </a:endParaRPr>
            </a:p>
          </p:txBody>
        </p:sp>
        <p:sp>
          <p:nvSpPr>
            <p:cNvPr id="205" name="Left Brace 139"/>
            <p:cNvSpPr/>
            <p:nvPr/>
          </p:nvSpPr>
          <p:spPr>
            <a:xfrm flipH="1">
              <a:off x="5575615" y="4587244"/>
              <a:ext cx="228600" cy="1764000"/>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1218702" latinLnBrk="0">
                <a:defRPr/>
              </a:pPr>
              <a:endParaRPr lang="en-US" kern="0" dirty="0">
                <a:solidFill>
                  <a:srgbClr val="FFFFFF"/>
                </a:solidFill>
                <a:latin typeface="Segoe UI"/>
                <a:ea typeface="Segoe UI" pitchFamily="34" charset="0"/>
                <a:cs typeface="Segoe UI" pitchFamily="34" charset="0"/>
              </a:endParaRPr>
            </a:p>
          </p:txBody>
        </p:sp>
        <p:sp>
          <p:nvSpPr>
            <p:cNvPr id="207" name="Left Brace 141"/>
            <p:cNvSpPr/>
            <p:nvPr/>
          </p:nvSpPr>
          <p:spPr>
            <a:xfrm>
              <a:off x="3789635" y="2354258"/>
              <a:ext cx="133350" cy="2232000"/>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1218702" latinLnBrk="0">
                <a:defRPr/>
              </a:pPr>
              <a:endParaRPr lang="en-US" kern="0" dirty="0">
                <a:solidFill>
                  <a:srgbClr val="FFFFFF"/>
                </a:solidFill>
                <a:latin typeface="Segoe UI"/>
                <a:ea typeface="Segoe UI" pitchFamily="34" charset="0"/>
                <a:cs typeface="Segoe UI" pitchFamily="34" charset="0"/>
              </a:endParaRPr>
            </a:p>
          </p:txBody>
        </p:sp>
        <p:sp>
          <p:nvSpPr>
            <p:cNvPr id="208" name="TextBox 58"/>
            <p:cNvSpPr txBox="1"/>
            <p:nvPr/>
          </p:nvSpPr>
          <p:spPr>
            <a:xfrm>
              <a:off x="3377366" y="2782962"/>
              <a:ext cx="400167" cy="86029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ko-KR" altLang="en-US" sz="1400" dirty="0">
                  <a:solidFill>
                    <a:srgbClr val="595959">
                      <a:alpha val="99000"/>
                    </a:srgbClr>
                  </a:solidFill>
                  <a:latin typeface="Segoe UI"/>
                  <a:ea typeface="Kozuka Gothic Pro R" pitchFamily="34" charset="-128"/>
                </a:rPr>
                <a:t>직접 운영</a:t>
              </a:r>
              <a:endParaRPr lang="en-US" sz="1400" dirty="0">
                <a:solidFill>
                  <a:srgbClr val="595959">
                    <a:alpha val="99000"/>
                  </a:srgbClr>
                </a:solidFill>
                <a:latin typeface="Segoe UI"/>
                <a:ea typeface="Kozuka Gothic Pro R" pitchFamily="34" charset="-128"/>
              </a:endParaRPr>
            </a:p>
          </p:txBody>
        </p:sp>
      </p:grpSp>
      <p:grpSp>
        <p:nvGrpSpPr>
          <p:cNvPr id="209" name="Group 5"/>
          <p:cNvGrpSpPr/>
          <p:nvPr/>
        </p:nvGrpSpPr>
        <p:grpSpPr>
          <a:xfrm>
            <a:off x="6461674" y="1597133"/>
            <a:ext cx="2426282" cy="4798026"/>
            <a:chOff x="5979422" y="1583373"/>
            <a:chExt cx="2426626" cy="4798706"/>
          </a:xfrm>
        </p:grpSpPr>
        <p:sp>
          <p:nvSpPr>
            <p:cNvPr id="210" name="Rectangle 153"/>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595959">
                      <a:alpha val="99000"/>
                    </a:srgbClr>
                  </a:solidFill>
                  <a:latin typeface="Segoe UI"/>
                  <a:ea typeface="Kozuka Gothic Pro R" pitchFamily="34" charset="-128"/>
                </a:rPr>
                <a:t>Platform</a:t>
              </a:r>
            </a:p>
            <a:p>
              <a:pPr defTabSz="1218702">
                <a:defRPr/>
              </a:pPr>
              <a:r>
                <a:rPr lang="en-US" sz="1600" dirty="0">
                  <a:solidFill>
                    <a:srgbClr val="595959">
                      <a:alpha val="99000"/>
                    </a:srgbClr>
                  </a:solidFill>
                  <a:latin typeface="Segoe UI"/>
                  <a:ea typeface="Kozuka Gothic Pro R" pitchFamily="34" charset="-128"/>
                </a:rPr>
                <a:t>(as a Service)</a:t>
              </a:r>
            </a:p>
          </p:txBody>
        </p:sp>
        <p:sp>
          <p:nvSpPr>
            <p:cNvPr id="211" name="Left Brace 154"/>
            <p:cNvSpPr/>
            <p:nvPr/>
          </p:nvSpPr>
          <p:spPr>
            <a:xfrm flipH="1">
              <a:off x="8131739" y="3259131"/>
              <a:ext cx="209580" cy="3122948"/>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1218702" latinLnBrk="0">
                <a:defRPr/>
              </a:pPr>
              <a:endParaRPr lang="en-US" kern="0" dirty="0">
                <a:solidFill>
                  <a:srgbClr val="FFFFFF"/>
                </a:solidFill>
                <a:latin typeface="Segoe UI"/>
                <a:ea typeface="Segoe UI" pitchFamily="34" charset="0"/>
                <a:cs typeface="Segoe UI" pitchFamily="34" charset="0"/>
              </a:endParaRPr>
            </a:p>
          </p:txBody>
        </p:sp>
        <p:sp>
          <p:nvSpPr>
            <p:cNvPr id="213" name="Left Brace 156"/>
            <p:cNvSpPr/>
            <p:nvPr/>
          </p:nvSpPr>
          <p:spPr>
            <a:xfrm>
              <a:off x="6322411" y="2335206"/>
              <a:ext cx="152400" cy="847725"/>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1218702" latinLnBrk="0">
                <a:defRPr/>
              </a:pPr>
              <a:endParaRPr lang="en-US" kern="0" dirty="0">
                <a:solidFill>
                  <a:srgbClr val="FFFFFF"/>
                </a:solidFill>
                <a:latin typeface="Segoe UI"/>
                <a:ea typeface="Segoe UI" pitchFamily="34" charset="0"/>
                <a:cs typeface="Segoe UI" pitchFamily="34" charset="0"/>
              </a:endParaRPr>
            </a:p>
          </p:txBody>
        </p:sp>
        <p:sp>
          <p:nvSpPr>
            <p:cNvPr id="214" name="TextBox 60"/>
            <p:cNvSpPr txBox="1"/>
            <p:nvPr/>
          </p:nvSpPr>
          <p:spPr>
            <a:xfrm>
              <a:off x="5979422" y="2325761"/>
              <a:ext cx="400167" cy="86029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ko-KR" altLang="en-US" sz="1400" dirty="0">
                  <a:solidFill>
                    <a:srgbClr val="595959">
                      <a:alpha val="99000"/>
                    </a:srgbClr>
                  </a:solidFill>
                  <a:latin typeface="Segoe UI"/>
                  <a:ea typeface="Kozuka Gothic Pro R" pitchFamily="34" charset="-128"/>
                </a:rPr>
                <a:t>직접 운영</a:t>
              </a:r>
              <a:endParaRPr lang="en-US" sz="1400" dirty="0">
                <a:solidFill>
                  <a:srgbClr val="595959">
                    <a:alpha val="99000"/>
                  </a:srgbClr>
                </a:solidFill>
                <a:latin typeface="Segoe UI"/>
                <a:ea typeface="Kozuka Gothic Pro R" pitchFamily="34" charset="-128"/>
              </a:endParaRPr>
            </a:p>
          </p:txBody>
        </p:sp>
        <p:sp>
          <p:nvSpPr>
            <p:cNvPr id="215" name="Rectangle 159"/>
            <p:cNvSpPr/>
            <p:nvPr/>
          </p:nvSpPr>
          <p:spPr>
            <a:xfrm>
              <a:off x="6484238" y="5537990"/>
              <a:ext cx="1638240" cy="381000"/>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스토리지</a:t>
              </a:r>
              <a:endParaRPr lang="en-US" sz="1500" kern="0" dirty="0">
                <a:solidFill>
                  <a:srgbClr val="FFFFFF">
                    <a:alpha val="99000"/>
                  </a:srgbClr>
                </a:solidFill>
                <a:latin typeface="Segoe UI"/>
                <a:ea typeface="Segoe UI" pitchFamily="34" charset="0"/>
                <a:cs typeface="Segoe UI" pitchFamily="34" charset="0"/>
              </a:endParaRPr>
            </a:p>
          </p:txBody>
        </p:sp>
        <p:sp>
          <p:nvSpPr>
            <p:cNvPr id="216" name="Rectangle 160"/>
            <p:cNvSpPr/>
            <p:nvPr/>
          </p:nvSpPr>
          <p:spPr>
            <a:xfrm>
              <a:off x="6484238" y="5083171"/>
              <a:ext cx="1638240" cy="381000"/>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서버</a:t>
              </a:r>
              <a:endParaRPr lang="en-US" sz="1500" kern="0" dirty="0">
                <a:solidFill>
                  <a:srgbClr val="FFFFFF">
                    <a:alpha val="99000"/>
                  </a:srgbClr>
                </a:solidFill>
                <a:latin typeface="Segoe UI"/>
                <a:ea typeface="Segoe UI" pitchFamily="34" charset="0"/>
                <a:cs typeface="Segoe UI" pitchFamily="34" charset="0"/>
              </a:endParaRPr>
            </a:p>
          </p:txBody>
        </p:sp>
        <p:sp>
          <p:nvSpPr>
            <p:cNvPr id="217" name="Rectangle 161"/>
            <p:cNvSpPr/>
            <p:nvPr/>
          </p:nvSpPr>
          <p:spPr>
            <a:xfrm>
              <a:off x="6484238" y="5992807"/>
              <a:ext cx="1638240" cy="381000"/>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네트워크</a:t>
              </a:r>
              <a:endParaRPr lang="en-US" sz="1500" kern="0" dirty="0">
                <a:solidFill>
                  <a:srgbClr val="FFFFFF">
                    <a:alpha val="99000"/>
                  </a:srgbClr>
                </a:solidFill>
                <a:latin typeface="Segoe UI"/>
                <a:ea typeface="Segoe UI" pitchFamily="34" charset="0"/>
                <a:cs typeface="Segoe UI" pitchFamily="34" charset="0"/>
              </a:endParaRPr>
            </a:p>
          </p:txBody>
        </p:sp>
        <p:sp>
          <p:nvSpPr>
            <p:cNvPr id="218" name="Rectangle 162"/>
            <p:cNvSpPr/>
            <p:nvPr/>
          </p:nvSpPr>
          <p:spPr>
            <a:xfrm>
              <a:off x="6484238" y="4173533"/>
              <a:ext cx="1638240" cy="381000"/>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en-US" sz="1500" kern="0" dirty="0">
                  <a:solidFill>
                    <a:srgbClr val="FFFFFF">
                      <a:alpha val="99000"/>
                    </a:srgbClr>
                  </a:solidFill>
                  <a:latin typeface="Segoe UI"/>
                  <a:ea typeface="Segoe UI" pitchFamily="34" charset="0"/>
                  <a:cs typeface="Segoe UI" pitchFamily="34" charset="0"/>
                </a:rPr>
                <a:t>O/S</a:t>
              </a:r>
            </a:p>
          </p:txBody>
        </p:sp>
        <p:sp>
          <p:nvSpPr>
            <p:cNvPr id="219" name="Rectangle 163"/>
            <p:cNvSpPr/>
            <p:nvPr/>
          </p:nvSpPr>
          <p:spPr>
            <a:xfrm>
              <a:off x="6484238" y="3718714"/>
              <a:ext cx="1638240" cy="381000"/>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미들웨어</a:t>
              </a:r>
              <a:endParaRPr lang="en-US" sz="1500" kern="0" dirty="0">
                <a:solidFill>
                  <a:srgbClr val="FFFFFF">
                    <a:alpha val="99000"/>
                  </a:srgbClr>
                </a:solidFill>
                <a:latin typeface="Segoe UI"/>
                <a:ea typeface="Segoe UI" pitchFamily="34" charset="0"/>
                <a:cs typeface="Segoe UI" pitchFamily="34" charset="0"/>
              </a:endParaRPr>
            </a:p>
          </p:txBody>
        </p:sp>
        <p:sp>
          <p:nvSpPr>
            <p:cNvPr id="220" name="Rectangle 164"/>
            <p:cNvSpPr/>
            <p:nvPr/>
          </p:nvSpPr>
          <p:spPr>
            <a:xfrm>
              <a:off x="6484238" y="4628352"/>
              <a:ext cx="1638240" cy="381000"/>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가상화</a:t>
              </a:r>
              <a:endParaRPr lang="en-US" sz="1500" kern="0" dirty="0">
                <a:solidFill>
                  <a:srgbClr val="FFFFFF">
                    <a:alpha val="99000"/>
                  </a:srgbClr>
                </a:solidFill>
                <a:latin typeface="Segoe UI"/>
                <a:ea typeface="Segoe UI" pitchFamily="34" charset="0"/>
                <a:cs typeface="Segoe UI" pitchFamily="34" charset="0"/>
              </a:endParaRPr>
            </a:p>
          </p:txBody>
        </p:sp>
        <p:sp>
          <p:nvSpPr>
            <p:cNvPr id="221" name="Rectangle 165"/>
            <p:cNvSpPr/>
            <p:nvPr/>
          </p:nvSpPr>
          <p:spPr>
            <a:xfrm>
              <a:off x="6484238" y="2354257"/>
              <a:ext cx="1638240"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프로그램</a:t>
              </a:r>
              <a:endParaRPr lang="en-US" sz="1500" kern="0" dirty="0">
                <a:solidFill>
                  <a:srgbClr val="FFFFFF">
                    <a:alpha val="99000"/>
                  </a:srgbClr>
                </a:solidFill>
                <a:latin typeface="Segoe UI"/>
                <a:ea typeface="Segoe UI" pitchFamily="34" charset="0"/>
                <a:cs typeface="Segoe UI" pitchFamily="34" charset="0"/>
              </a:endParaRPr>
            </a:p>
          </p:txBody>
        </p:sp>
        <p:sp>
          <p:nvSpPr>
            <p:cNvPr id="222" name="Rectangle 166"/>
            <p:cNvSpPr/>
            <p:nvPr/>
          </p:nvSpPr>
          <p:spPr>
            <a:xfrm>
              <a:off x="6484238" y="3263895"/>
              <a:ext cx="1638240" cy="381000"/>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방화벽</a:t>
              </a:r>
              <a:endParaRPr lang="en-US" sz="1500" kern="0" dirty="0">
                <a:solidFill>
                  <a:srgbClr val="FFFFFF">
                    <a:alpha val="99000"/>
                  </a:srgbClr>
                </a:solidFill>
                <a:latin typeface="Segoe UI"/>
                <a:ea typeface="Segoe UI" pitchFamily="34" charset="0"/>
                <a:cs typeface="Segoe UI" pitchFamily="34" charset="0"/>
              </a:endParaRPr>
            </a:p>
          </p:txBody>
        </p:sp>
        <p:sp>
          <p:nvSpPr>
            <p:cNvPr id="223" name="Rectangle 167"/>
            <p:cNvSpPr/>
            <p:nvPr/>
          </p:nvSpPr>
          <p:spPr>
            <a:xfrm>
              <a:off x="6484238" y="2809076"/>
              <a:ext cx="1638240"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데이터베이스</a:t>
              </a:r>
              <a:endParaRPr lang="en-US" sz="1500" kern="0" dirty="0">
                <a:solidFill>
                  <a:srgbClr val="FFFFFF">
                    <a:alpha val="99000"/>
                  </a:srgbClr>
                </a:solidFill>
                <a:latin typeface="Segoe UI"/>
                <a:ea typeface="Segoe UI" pitchFamily="34" charset="0"/>
                <a:cs typeface="Segoe UI" pitchFamily="34" charset="0"/>
              </a:endParaRPr>
            </a:p>
          </p:txBody>
        </p:sp>
      </p:grpSp>
      <p:sp>
        <p:nvSpPr>
          <p:cNvPr id="225" name="Rectangle 169"/>
          <p:cNvSpPr/>
          <p:nvPr/>
        </p:nvSpPr>
        <p:spPr>
          <a:xfrm>
            <a:off x="9462658" y="1597133"/>
            <a:ext cx="2027969" cy="639989"/>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595959">
                    <a:alpha val="99000"/>
                  </a:srgbClr>
                </a:solidFill>
                <a:latin typeface="Segoe UI"/>
                <a:ea typeface="Kozuka Gothic Pro R" pitchFamily="34" charset="-128"/>
              </a:rPr>
              <a:t>Software</a:t>
            </a:r>
          </a:p>
          <a:p>
            <a:pPr defTabSz="1218702">
              <a:defRPr/>
            </a:pPr>
            <a:r>
              <a:rPr lang="en-US" sz="1600" dirty="0">
                <a:solidFill>
                  <a:srgbClr val="595959">
                    <a:alpha val="99000"/>
                  </a:srgbClr>
                </a:solidFill>
                <a:latin typeface="Segoe UI"/>
                <a:ea typeface="Kozuka Gothic Pro R" pitchFamily="34" charset="-128"/>
              </a:rPr>
              <a:t>(as a Service)</a:t>
            </a:r>
          </a:p>
        </p:txBody>
      </p:sp>
      <p:sp>
        <p:nvSpPr>
          <p:cNvPr id="228" name="Rectangle 173"/>
          <p:cNvSpPr/>
          <p:nvPr/>
        </p:nvSpPr>
        <p:spPr>
          <a:xfrm>
            <a:off x="9522624" y="5551186"/>
            <a:ext cx="1638008" cy="380946"/>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스토리지</a:t>
            </a:r>
            <a:endParaRPr lang="en-US" sz="1500" kern="0" dirty="0">
              <a:solidFill>
                <a:srgbClr val="FFFFFF">
                  <a:alpha val="99000"/>
                </a:srgbClr>
              </a:solidFill>
              <a:latin typeface="Segoe UI"/>
              <a:ea typeface="Segoe UI" pitchFamily="34" charset="0"/>
              <a:cs typeface="Segoe UI" pitchFamily="34" charset="0"/>
            </a:endParaRPr>
          </a:p>
        </p:txBody>
      </p:sp>
      <p:sp>
        <p:nvSpPr>
          <p:cNvPr id="229" name="Rectangle 174"/>
          <p:cNvSpPr/>
          <p:nvPr/>
        </p:nvSpPr>
        <p:spPr>
          <a:xfrm>
            <a:off x="9522624" y="5096431"/>
            <a:ext cx="1638008" cy="380946"/>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서버</a:t>
            </a:r>
            <a:endParaRPr lang="en-US" sz="1500" kern="0" dirty="0">
              <a:solidFill>
                <a:srgbClr val="FFFFFF">
                  <a:alpha val="99000"/>
                </a:srgbClr>
              </a:solidFill>
              <a:latin typeface="Segoe UI"/>
              <a:ea typeface="Segoe UI" pitchFamily="34" charset="0"/>
              <a:cs typeface="Segoe UI" pitchFamily="34" charset="0"/>
            </a:endParaRPr>
          </a:p>
        </p:txBody>
      </p:sp>
      <p:sp>
        <p:nvSpPr>
          <p:cNvPr id="230" name="Rectangle 175"/>
          <p:cNvSpPr/>
          <p:nvPr/>
        </p:nvSpPr>
        <p:spPr>
          <a:xfrm>
            <a:off x="9522624" y="6005939"/>
            <a:ext cx="1638008" cy="380946"/>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네트워크</a:t>
            </a:r>
            <a:endParaRPr lang="en-US" sz="1500" kern="0" dirty="0">
              <a:solidFill>
                <a:srgbClr val="FFFFFF">
                  <a:alpha val="99000"/>
                </a:srgbClr>
              </a:solidFill>
              <a:latin typeface="Segoe UI"/>
              <a:ea typeface="Segoe UI" pitchFamily="34" charset="0"/>
              <a:cs typeface="Segoe UI" pitchFamily="34" charset="0"/>
            </a:endParaRPr>
          </a:p>
        </p:txBody>
      </p:sp>
      <p:sp>
        <p:nvSpPr>
          <p:cNvPr id="231" name="Rectangle 176"/>
          <p:cNvSpPr/>
          <p:nvPr/>
        </p:nvSpPr>
        <p:spPr>
          <a:xfrm>
            <a:off x="9522624" y="4186923"/>
            <a:ext cx="1638008" cy="380946"/>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en-US" sz="1500" kern="0" dirty="0">
                <a:solidFill>
                  <a:srgbClr val="FFFFFF">
                    <a:alpha val="99000"/>
                  </a:srgbClr>
                </a:solidFill>
                <a:latin typeface="Segoe UI"/>
                <a:ea typeface="Segoe UI" pitchFamily="34" charset="0"/>
                <a:cs typeface="Segoe UI" pitchFamily="34" charset="0"/>
              </a:rPr>
              <a:t>O/S</a:t>
            </a:r>
          </a:p>
        </p:txBody>
      </p:sp>
      <p:sp>
        <p:nvSpPr>
          <p:cNvPr id="232" name="Rectangle 177"/>
          <p:cNvSpPr/>
          <p:nvPr/>
        </p:nvSpPr>
        <p:spPr>
          <a:xfrm>
            <a:off x="9522624" y="3732168"/>
            <a:ext cx="1638008" cy="380946"/>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미들웨어</a:t>
            </a:r>
            <a:endParaRPr lang="en-US" sz="1500" kern="0" dirty="0">
              <a:solidFill>
                <a:srgbClr val="FFFFFF">
                  <a:alpha val="99000"/>
                </a:srgbClr>
              </a:solidFill>
              <a:latin typeface="Segoe UI"/>
              <a:ea typeface="Segoe UI" pitchFamily="34" charset="0"/>
              <a:cs typeface="Segoe UI" pitchFamily="34" charset="0"/>
            </a:endParaRPr>
          </a:p>
        </p:txBody>
      </p:sp>
      <p:sp>
        <p:nvSpPr>
          <p:cNvPr id="233" name="Rectangle 178"/>
          <p:cNvSpPr/>
          <p:nvPr/>
        </p:nvSpPr>
        <p:spPr>
          <a:xfrm>
            <a:off x="9522624" y="4641677"/>
            <a:ext cx="1638008" cy="380946"/>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가상화</a:t>
            </a:r>
            <a:endParaRPr lang="en-US" sz="1500" kern="0" dirty="0">
              <a:solidFill>
                <a:srgbClr val="FFFFFF">
                  <a:alpha val="99000"/>
                </a:srgbClr>
              </a:solidFill>
              <a:latin typeface="Segoe UI"/>
              <a:ea typeface="Segoe UI" pitchFamily="34" charset="0"/>
              <a:cs typeface="Segoe UI" pitchFamily="34" charset="0"/>
            </a:endParaRPr>
          </a:p>
        </p:txBody>
      </p:sp>
      <p:sp>
        <p:nvSpPr>
          <p:cNvPr id="234" name="Rectangle 179"/>
          <p:cNvSpPr/>
          <p:nvPr/>
        </p:nvSpPr>
        <p:spPr>
          <a:xfrm>
            <a:off x="9522624" y="2367905"/>
            <a:ext cx="1638008" cy="380946"/>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프로그램</a:t>
            </a:r>
            <a:endParaRPr lang="en-US" sz="1500" kern="0" dirty="0">
              <a:solidFill>
                <a:srgbClr val="FFFFFF">
                  <a:alpha val="99000"/>
                </a:srgbClr>
              </a:solidFill>
              <a:latin typeface="Segoe UI"/>
              <a:ea typeface="Segoe UI" pitchFamily="34" charset="0"/>
              <a:cs typeface="Segoe UI" pitchFamily="34" charset="0"/>
            </a:endParaRPr>
          </a:p>
        </p:txBody>
      </p:sp>
      <p:sp>
        <p:nvSpPr>
          <p:cNvPr id="235" name="Rectangle 180"/>
          <p:cNvSpPr/>
          <p:nvPr/>
        </p:nvSpPr>
        <p:spPr>
          <a:xfrm>
            <a:off x="9522624" y="3277413"/>
            <a:ext cx="1638008" cy="380946"/>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방화벽</a:t>
            </a:r>
            <a:endParaRPr lang="en-US" sz="1500" kern="0" dirty="0">
              <a:solidFill>
                <a:srgbClr val="FFFFFF">
                  <a:alpha val="99000"/>
                </a:srgbClr>
              </a:solidFill>
              <a:latin typeface="Segoe UI"/>
              <a:ea typeface="Segoe UI" pitchFamily="34" charset="0"/>
              <a:cs typeface="Segoe UI" pitchFamily="34" charset="0"/>
            </a:endParaRPr>
          </a:p>
        </p:txBody>
      </p:sp>
      <p:sp>
        <p:nvSpPr>
          <p:cNvPr id="236" name="Rectangle 181"/>
          <p:cNvSpPr/>
          <p:nvPr/>
        </p:nvSpPr>
        <p:spPr>
          <a:xfrm>
            <a:off x="9522624" y="2822659"/>
            <a:ext cx="1638008" cy="380946"/>
          </a:xfrm>
          <a:prstGeom prst="rect">
            <a:avLst/>
          </a:prstGeom>
          <a:solidFill>
            <a:srgbClr val="8CC600"/>
          </a:solidFill>
          <a:ln w="9525" cap="flat" cmpd="sng" algn="ctr">
            <a:noFill/>
            <a:prstDash val="solid"/>
          </a:ln>
          <a:effectLst/>
        </p:spPr>
        <p:txBody>
          <a:bodyPr lIns="0" rIns="0" rtlCol="0" anchor="t" anchorCtr="0"/>
          <a:lstStyle/>
          <a:p>
            <a:pPr algn="ctr" defTabSz="1218702" latinLnBrk="0">
              <a:defRPr/>
            </a:pPr>
            <a:r>
              <a:rPr lang="ko-KR" altLang="en-US" sz="1500" kern="0" dirty="0">
                <a:solidFill>
                  <a:srgbClr val="FFFFFF">
                    <a:alpha val="99000"/>
                  </a:srgbClr>
                </a:solidFill>
                <a:latin typeface="Segoe UI"/>
                <a:ea typeface="Segoe UI" pitchFamily="34" charset="0"/>
                <a:cs typeface="Segoe UI" pitchFamily="34" charset="0"/>
              </a:rPr>
              <a:t>데이터베이스</a:t>
            </a:r>
            <a:endParaRPr lang="en-US" sz="1500" kern="0" dirty="0">
              <a:solidFill>
                <a:srgbClr val="FFFFFF">
                  <a:alpha val="99000"/>
                </a:srgbClr>
              </a:solidFill>
              <a:latin typeface="Segoe UI"/>
              <a:ea typeface="Segoe UI" pitchFamily="34" charset="0"/>
              <a:cs typeface="Segoe UI" pitchFamily="34" charset="0"/>
            </a:endParaRPr>
          </a:p>
        </p:txBody>
      </p:sp>
      <p:pic>
        <p:nvPicPr>
          <p:cNvPr id="237" name="Picture 11" descr="Cloud 512x512.png"/>
          <p:cNvPicPr>
            <a:picLocks noChangeAspect="1"/>
          </p:cNvPicPr>
          <p:nvPr/>
        </p:nvPicPr>
        <p:blipFill>
          <a:blip r:embed="rId3" cstate="print">
            <a:duotone>
              <a:prstClr val="black"/>
              <a:srgbClr val="292929">
                <a:tint val="45000"/>
                <a:satMod val="400000"/>
              </a:srgbClr>
            </a:duotone>
            <a:extLst>
              <a:ext uri="{28A0092B-C50C-407E-A947-70E740481C1C}">
                <a14:useLocalDpi xmlns:a14="http://schemas.microsoft.com/office/drawing/2010/main" val="0"/>
              </a:ext>
            </a:extLst>
          </a:blip>
          <a:srcRect/>
          <a:stretch>
            <a:fillRect/>
          </a:stretch>
        </p:blipFill>
        <p:spPr bwMode="auto">
          <a:xfrm>
            <a:off x="3286214" y="5627632"/>
            <a:ext cx="1013960" cy="10139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8" name="Picture 12" descr="Gift 512x512.png"/>
          <p:cNvPicPr>
            <a:picLocks noChangeAspect="1"/>
          </p:cNvPicPr>
          <p:nvPr/>
        </p:nvPicPr>
        <p:blipFill>
          <a:blip r:embed="rId4" cstate="print">
            <a:duotone>
              <a:prstClr val="black"/>
              <a:srgbClr val="292929">
                <a:tint val="45000"/>
                <a:satMod val="400000"/>
              </a:srgbClr>
            </a:duotone>
            <a:extLst>
              <a:ext uri="{28A0092B-C50C-407E-A947-70E740481C1C}">
                <a14:useLocalDpi xmlns:a14="http://schemas.microsoft.com/office/drawing/2010/main" val="0"/>
              </a:ext>
            </a:extLst>
          </a:blip>
          <a:srcRect/>
          <a:stretch>
            <a:fillRect/>
          </a:stretch>
        </p:blipFill>
        <p:spPr bwMode="auto">
          <a:xfrm>
            <a:off x="372605" y="5637374"/>
            <a:ext cx="806159" cy="8061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39" name="Rectangle 66"/>
          <p:cNvSpPr/>
          <p:nvPr/>
        </p:nvSpPr>
        <p:spPr bwMode="auto">
          <a:xfrm flipH="1">
            <a:off x="252037" y="1380357"/>
            <a:ext cx="2955077" cy="5139135"/>
          </a:xfrm>
          <a:prstGeom prst="rect">
            <a:avLst/>
          </a:prstGeom>
          <a:noFill/>
          <a:ln w="9525" cap="flat" cmpd="sng" algn="ctr">
            <a:solidFill>
              <a:srgbClr val="FFFFFF">
                <a:lumMod val="85000"/>
              </a:srgbClr>
            </a:solidFill>
            <a:prstDash val="solid"/>
            <a:headEnd type="none" w="med" len="med"/>
            <a:tailEnd type="none" w="med" len="med"/>
          </a:ln>
          <a:effectLst/>
        </p:spPr>
        <p:txBody>
          <a:bodyPr vert="horz" wrap="square" lIns="91391" tIns="45697" rIns="91391" bIns="45697" numCol="1" spcCol="0" rtlCol="0" anchor="ctr" anchorCtr="0" compatLnSpc="1">
            <a:prstTxWarp prst="textNoShape">
              <a:avLst/>
            </a:prstTxWarp>
          </a:bodyPr>
          <a:lstStyle/>
          <a:p>
            <a:pPr algn="ctr" defTabSz="913612" fontAlgn="base" latinLnBrk="0">
              <a:spcBef>
                <a:spcPct val="0"/>
              </a:spcBef>
              <a:spcAft>
                <a:spcPct val="0"/>
              </a:spcAft>
              <a:defRPr/>
            </a:pPr>
            <a:endParaRPr lang="en-US" sz="2200" kern="0" dirty="0">
              <a:gradFill>
                <a:gsLst>
                  <a:gs pos="0">
                    <a:srgbClr val="FFFFFF"/>
                  </a:gs>
                  <a:gs pos="100000">
                    <a:srgbClr val="FFFFFF"/>
                  </a:gs>
                </a:gsLst>
                <a:lin ang="5400000" scaled="0"/>
              </a:gradFill>
              <a:latin typeface="Segoe UI"/>
            </a:endParaRPr>
          </a:p>
        </p:txBody>
      </p:sp>
      <p:sp>
        <p:nvSpPr>
          <p:cNvPr id="68" name="Left Brace 154"/>
          <p:cNvSpPr/>
          <p:nvPr/>
        </p:nvSpPr>
        <p:spPr>
          <a:xfrm flipH="1">
            <a:off x="11159321" y="2377427"/>
            <a:ext cx="224730" cy="3996423"/>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1218702" latinLnBrk="0">
              <a:defRPr/>
            </a:pPr>
            <a:endParaRPr lang="en-US" kern="0" dirty="0">
              <a:solidFill>
                <a:srgbClr val="FFFFFF"/>
              </a:solidFill>
              <a:latin typeface="Segoe UI"/>
              <a:ea typeface="Segoe UI" pitchFamily="34" charset="0"/>
              <a:cs typeface="Segoe UI" pitchFamily="34" charset="0"/>
            </a:endParaRPr>
          </a:p>
        </p:txBody>
      </p:sp>
      <p:sp>
        <p:nvSpPr>
          <p:cNvPr id="69" name="Left Brace 141"/>
          <p:cNvSpPr/>
          <p:nvPr/>
        </p:nvSpPr>
        <p:spPr>
          <a:xfrm>
            <a:off x="1103806" y="2367905"/>
            <a:ext cx="228584" cy="4031428"/>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1218702" latinLnBrk="0">
              <a:defRPr/>
            </a:pPr>
            <a:endParaRPr lang="en-US" kern="0" dirty="0">
              <a:solidFill>
                <a:srgbClr val="FFFFFF"/>
              </a:solidFill>
              <a:latin typeface="Segoe UI"/>
              <a:ea typeface="Segoe UI" pitchFamily="34" charset="0"/>
              <a:cs typeface="Segoe UI" pitchFamily="34" charset="0"/>
            </a:endParaRPr>
          </a:p>
        </p:txBody>
      </p:sp>
      <p:sp>
        <p:nvSpPr>
          <p:cNvPr id="62" name="제목 1"/>
          <p:cNvSpPr>
            <a:spLocks noGrp="1"/>
          </p:cNvSpPr>
          <p:nvPr>
            <p:ph type="title"/>
          </p:nvPr>
        </p:nvSpPr>
        <p:spPr>
          <a:xfrm>
            <a:off x="269240" y="286827"/>
            <a:ext cx="11151917" cy="927809"/>
          </a:xfrm>
        </p:spPr>
        <p:txBody>
          <a:bodyPr>
            <a:normAutofit/>
          </a:bodyPr>
          <a:lstStyle/>
          <a:p>
            <a:r>
              <a:rPr lang="ko-KR" altLang="en-US" dirty="0" smtClean="0">
                <a:solidFill>
                  <a:schemeClr val="tx1"/>
                </a:solidFill>
              </a:rPr>
              <a:t>클라우드의 종류</a:t>
            </a:r>
            <a:endParaRPr lang="ko-KR" altLang="en-US" dirty="0">
              <a:solidFill>
                <a:schemeClr val="tx1"/>
              </a:solidFill>
            </a:endParaRPr>
          </a:p>
        </p:txBody>
      </p:sp>
      <p:sp>
        <p:nvSpPr>
          <p:cNvPr id="63" name="TextBox 60"/>
          <p:cNvSpPr txBox="1"/>
          <p:nvPr/>
        </p:nvSpPr>
        <p:spPr>
          <a:xfrm>
            <a:off x="6237174" y="4819125"/>
            <a:ext cx="400110" cy="1398781"/>
          </a:xfrm>
          <a:prstGeom prst="rect">
            <a:avLst/>
          </a:prstGeom>
          <a:noFill/>
        </p:spPr>
        <p:txBody>
          <a:bodyPr vert="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ko-KR" altLang="en-US" sz="1400" dirty="0">
                <a:solidFill>
                  <a:srgbClr val="595959">
                    <a:alpha val="99000"/>
                  </a:srgbClr>
                </a:solidFill>
                <a:latin typeface="Segoe UI"/>
                <a:ea typeface="Kozuka Gothic Pro R" pitchFamily="34" charset="-128"/>
              </a:rPr>
              <a:t>전문업체가 운영</a:t>
            </a:r>
            <a:endParaRPr lang="en-US" sz="1400" dirty="0">
              <a:solidFill>
                <a:srgbClr val="595959">
                  <a:alpha val="99000"/>
                </a:srgbClr>
              </a:solidFill>
              <a:latin typeface="Segoe UI"/>
              <a:ea typeface="Kozuka Gothic Pro R" pitchFamily="34" charset="-128"/>
            </a:endParaRPr>
          </a:p>
        </p:txBody>
      </p:sp>
      <p:sp>
        <p:nvSpPr>
          <p:cNvPr id="64" name="TextBox 60"/>
          <p:cNvSpPr txBox="1"/>
          <p:nvPr/>
        </p:nvSpPr>
        <p:spPr>
          <a:xfrm>
            <a:off x="8792068" y="4061986"/>
            <a:ext cx="400110" cy="1398781"/>
          </a:xfrm>
          <a:prstGeom prst="rect">
            <a:avLst/>
          </a:prstGeom>
          <a:noFill/>
        </p:spPr>
        <p:txBody>
          <a:bodyPr vert="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ko-KR" altLang="en-US" sz="1400" dirty="0">
                <a:solidFill>
                  <a:srgbClr val="595959">
                    <a:alpha val="99000"/>
                  </a:srgbClr>
                </a:solidFill>
                <a:latin typeface="Segoe UI"/>
                <a:ea typeface="Kozuka Gothic Pro R" pitchFamily="34" charset="-128"/>
              </a:rPr>
              <a:t>전문업체가 운영</a:t>
            </a:r>
            <a:endParaRPr lang="en-US" sz="1400" dirty="0">
              <a:solidFill>
                <a:srgbClr val="595959">
                  <a:alpha val="99000"/>
                </a:srgbClr>
              </a:solidFill>
              <a:latin typeface="Segoe UI"/>
              <a:ea typeface="Kozuka Gothic Pro R" pitchFamily="34" charset="-128"/>
            </a:endParaRPr>
          </a:p>
        </p:txBody>
      </p:sp>
      <p:sp>
        <p:nvSpPr>
          <p:cNvPr id="65" name="TextBox 60"/>
          <p:cNvSpPr txBox="1"/>
          <p:nvPr/>
        </p:nvSpPr>
        <p:spPr>
          <a:xfrm>
            <a:off x="11353442" y="3700397"/>
            <a:ext cx="400110" cy="1398781"/>
          </a:xfrm>
          <a:prstGeom prst="rect">
            <a:avLst/>
          </a:prstGeom>
          <a:noFill/>
        </p:spPr>
        <p:txBody>
          <a:bodyPr vert="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ko-KR" altLang="en-US" sz="1400" dirty="0">
                <a:solidFill>
                  <a:srgbClr val="595959">
                    <a:alpha val="99000"/>
                  </a:srgbClr>
                </a:solidFill>
                <a:latin typeface="Segoe UI"/>
                <a:ea typeface="Kozuka Gothic Pro R" pitchFamily="34" charset="-128"/>
              </a:rPr>
              <a:t>전문업체가 운영</a:t>
            </a:r>
            <a:endParaRPr lang="en-US" sz="1400" dirty="0">
              <a:solidFill>
                <a:srgbClr val="595959">
                  <a:alpha val="99000"/>
                </a:srgbClr>
              </a:solidFill>
              <a:latin typeface="Segoe UI"/>
              <a:ea typeface="Kozuka Gothic Pro R" pitchFamily="34" charset="-128"/>
            </a:endParaRPr>
          </a:p>
        </p:txBody>
      </p:sp>
      <p:sp>
        <p:nvSpPr>
          <p:cNvPr id="2" name="구름 모양 설명선 1"/>
          <p:cNvSpPr/>
          <p:nvPr/>
        </p:nvSpPr>
        <p:spPr bwMode="auto">
          <a:xfrm>
            <a:off x="4400006" y="-203441"/>
            <a:ext cx="2520176" cy="1688518"/>
          </a:xfrm>
          <a:prstGeom prst="cloud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ltLang="ko-KR" sz="4000" dirty="0" smtClean="0">
                <a:gradFill>
                  <a:gsLst>
                    <a:gs pos="0">
                      <a:srgbClr val="FFFFFF"/>
                    </a:gs>
                    <a:gs pos="100000">
                      <a:srgbClr val="FFFFFF"/>
                    </a:gs>
                  </a:gsLst>
                  <a:lin ang="5400000" scaled="0"/>
                </a:gradFill>
                <a:ea typeface="Segoe UI" pitchFamily="34" charset="0"/>
                <a:cs typeface="Segoe UI" pitchFamily="34" charset="0"/>
              </a:rPr>
              <a:t>IaaS</a:t>
            </a:r>
            <a:endParaRPr lang="ko-KR" altLang="en-US" sz="4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 name="구름 모양 설명선 65"/>
          <p:cNvSpPr/>
          <p:nvPr/>
        </p:nvSpPr>
        <p:spPr bwMode="auto">
          <a:xfrm>
            <a:off x="7174340" y="-77887"/>
            <a:ext cx="2520176" cy="1688518"/>
          </a:xfrm>
          <a:prstGeom prst="cloud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ltLang="ko-KR" sz="4000" dirty="0" smtClean="0">
                <a:gradFill>
                  <a:gsLst>
                    <a:gs pos="0">
                      <a:srgbClr val="FFFFFF"/>
                    </a:gs>
                    <a:gs pos="100000">
                      <a:srgbClr val="FFFFFF"/>
                    </a:gs>
                  </a:gsLst>
                  <a:lin ang="5400000" scaled="0"/>
                </a:gradFill>
                <a:ea typeface="Segoe UI" pitchFamily="34" charset="0"/>
                <a:cs typeface="Segoe UI" pitchFamily="34" charset="0"/>
              </a:rPr>
              <a:t>PaaS</a:t>
            </a:r>
            <a:endParaRPr lang="ko-KR" altLang="en-US" sz="4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 name="구름 모양 설명선 66"/>
          <p:cNvSpPr/>
          <p:nvPr/>
        </p:nvSpPr>
        <p:spPr bwMode="auto">
          <a:xfrm>
            <a:off x="9899233" y="-192254"/>
            <a:ext cx="2520176" cy="1688518"/>
          </a:xfrm>
          <a:prstGeom prst="cloud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ltLang="ko-KR" sz="4000" dirty="0" smtClean="0">
                <a:gradFill>
                  <a:gsLst>
                    <a:gs pos="0">
                      <a:srgbClr val="FFFFFF"/>
                    </a:gs>
                    <a:gs pos="100000">
                      <a:srgbClr val="FFFFFF"/>
                    </a:gs>
                  </a:gsLst>
                  <a:lin ang="5400000" scaled="0"/>
                </a:gradFill>
                <a:ea typeface="Segoe UI" pitchFamily="34" charset="0"/>
                <a:cs typeface="Segoe UI" pitchFamily="34" charset="0"/>
              </a:rPr>
              <a:t>SaaS</a:t>
            </a:r>
            <a:endParaRPr lang="ko-KR" altLang="en-US" sz="40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518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6"/>
                                        </p:tgtEl>
                                        <p:attrNameLst>
                                          <p:attrName>style.visibility</p:attrName>
                                        </p:attrNameLst>
                                      </p:cBhvr>
                                      <p:to>
                                        <p:strVal val="visible"/>
                                      </p:to>
                                    </p:set>
                                    <p:animEffect transition="in" filter="fade">
                                      <p:cBhvr>
                                        <p:cTn id="11" dur="500"/>
                                        <p:tgtEl>
                                          <p:spTgt spid="6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6" grpId="0" animBg="1"/>
      <p:bldP spid="6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bwMode="auto">
          <a:xfrm>
            <a:off x="1" y="1187939"/>
            <a:ext cx="280528" cy="566957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3881" y="4185309"/>
            <a:ext cx="8641227" cy="1987833"/>
          </a:xfrm>
          <a:prstGeom prst="rect">
            <a:avLst/>
          </a:prstGeom>
        </p:spPr>
      </p:pic>
      <p:sp>
        <p:nvSpPr>
          <p:cNvPr id="6" name="TextBox 5"/>
          <p:cNvSpPr txBox="1"/>
          <p:nvPr/>
        </p:nvSpPr>
        <p:spPr>
          <a:xfrm>
            <a:off x="1051002" y="1372715"/>
            <a:ext cx="10555325" cy="1514261"/>
          </a:xfrm>
          <a:prstGeom prst="rect">
            <a:avLst/>
          </a:prstGeom>
          <a:noFill/>
        </p:spPr>
        <p:txBody>
          <a:bodyPr wrap="none" lIns="182880" tIns="146304" rIns="182880" bIns="146304" rtlCol="0">
            <a:spAutoFit/>
          </a:bodyPr>
          <a:lstStyle/>
          <a:p>
            <a:pPr>
              <a:lnSpc>
                <a:spcPct val="90000"/>
              </a:lnSpc>
              <a:spcAft>
                <a:spcPts val="600"/>
              </a:spcAft>
            </a:pPr>
            <a:r>
              <a:rPr lang="en-US" sz="8800" dirty="0" smtClean="0">
                <a:gradFill>
                  <a:gsLst>
                    <a:gs pos="2917">
                      <a:schemeClr val="tx1"/>
                    </a:gs>
                    <a:gs pos="30000">
                      <a:schemeClr val="tx1"/>
                    </a:gs>
                  </a:gsLst>
                  <a:lin ang="5400000" scaled="0"/>
                </a:gradFill>
              </a:rPr>
              <a:t>IaaS </a:t>
            </a:r>
            <a:r>
              <a:rPr lang="en-US" sz="8800" dirty="0" smtClean="0">
                <a:gradFill>
                  <a:gsLst>
                    <a:gs pos="2917">
                      <a:schemeClr val="tx1"/>
                    </a:gs>
                    <a:gs pos="30000">
                      <a:schemeClr val="tx1"/>
                    </a:gs>
                  </a:gsLst>
                  <a:lin ang="5400000" scaled="0"/>
                </a:gradFill>
                <a:sym typeface="Wingdings" panose="05000000000000000000" pitchFamily="2" charset="2"/>
              </a:rPr>
              <a:t> PaaS  SaaS</a:t>
            </a:r>
            <a:endParaRPr lang="en-US" sz="88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1875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80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bwMode="auto">
          <a:xfrm>
            <a:off x="1" y="1187939"/>
            <a:ext cx="280528" cy="566957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5" name="TextBox 4"/>
          <p:cNvSpPr txBox="1"/>
          <p:nvPr/>
        </p:nvSpPr>
        <p:spPr>
          <a:xfrm>
            <a:off x="2507647" y="3285774"/>
            <a:ext cx="7795225" cy="1267251"/>
          </a:xfrm>
          <a:prstGeom prst="rect">
            <a:avLst/>
          </a:prstGeom>
          <a:noFill/>
        </p:spPr>
        <p:txBody>
          <a:bodyPr wrap="none" lIns="179285" tIns="143428" rIns="179285" bIns="143428" rtlCol="0">
            <a:spAutoFit/>
          </a:bodyPr>
          <a:lstStyle/>
          <a:p>
            <a:pPr marL="0" marR="0" lvl="0" indent="0" algn="l" defTabSz="914133" rtl="0" eaLnBrk="1" fontAlgn="auto" latinLnBrk="0" hangingPunct="1">
              <a:lnSpc>
                <a:spcPct val="90000"/>
              </a:lnSpc>
              <a:spcBef>
                <a:spcPts val="0"/>
              </a:spcBef>
              <a:spcAft>
                <a:spcPts val="0"/>
              </a:spcAft>
              <a:buClrTx/>
              <a:buSzTx/>
              <a:buFontTx/>
              <a:buNone/>
              <a:tabLst/>
              <a:defRPr/>
            </a:pPr>
            <a:r>
              <a:rPr kumimoji="0" lang="ko-KR" altLang="en-US" sz="7058" b="0" i="0" u="none" strike="noStrike" kern="1200" cap="none" spc="-49"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글로벌 데이터센터</a:t>
            </a:r>
            <a:endParaRPr kumimoji="0" lang="en-US" sz="7058" b="0" i="0" u="none" strike="noStrike" kern="1200" cap="none" spc="-49"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0742" y="1203194"/>
            <a:ext cx="8641227" cy="1987833"/>
          </a:xfrm>
          <a:prstGeom prst="rect">
            <a:avLst/>
          </a:prstGeom>
        </p:spPr>
      </p:pic>
    </p:spTree>
    <p:extLst>
      <p:ext uri="{BB962C8B-B14F-4D97-AF65-F5344CB8AC3E}">
        <p14:creationId xmlns:p14="http://schemas.microsoft.com/office/powerpoint/2010/main" val="3506012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80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8" name="TextBox 867"/>
          <p:cNvSpPr txBox="1"/>
          <p:nvPr/>
        </p:nvSpPr>
        <p:spPr>
          <a:xfrm>
            <a:off x="1763281" y="4980251"/>
            <a:ext cx="8516036" cy="1511534"/>
          </a:xfrm>
          <a:prstGeom prst="rect">
            <a:avLst/>
          </a:prstGeom>
          <a:noFill/>
        </p:spPr>
        <p:txBody>
          <a:bodyPr wrap="square" lIns="179212" tIns="143371" rIns="179212" bIns="143371" rtlCol="0" anchor="ctr" anchorCtr="0">
            <a:spAutoFit/>
          </a:bodyPr>
          <a:lstStyle/>
          <a:p>
            <a:pPr marL="0" marR="0" lvl="0" indent="0" algn="ctr" defTabSz="914004" rtl="0" eaLnBrk="1" fontAlgn="auto" latinLnBrk="0" hangingPunct="1">
              <a:lnSpc>
                <a:spcPct val="90000"/>
              </a:lnSpc>
              <a:spcBef>
                <a:spcPts val="0"/>
              </a:spcBef>
              <a:spcAft>
                <a:spcPts val="588"/>
              </a:spcAft>
              <a:buClrTx/>
              <a:buSzTx/>
              <a:buFontTx/>
              <a:buNone/>
              <a:tabLst/>
              <a:defRPr/>
            </a:pPr>
            <a:r>
              <a:rPr kumimoji="0" lang="ko-KR" altLang="en-US" sz="4411" b="0" i="0" u="none" strike="noStrike" kern="1200" cap="none" spc="0" normalizeH="0" baseline="0" noProof="0" dirty="0" smtClean="0">
                <a:ln>
                  <a:noFill/>
                </a:ln>
                <a:solidFill>
                  <a:srgbClr val="505050">
                    <a:lumMod val="75000"/>
                  </a:srgbClr>
                </a:solidFill>
                <a:effectLst/>
                <a:uLnTx/>
                <a:uFillTx/>
                <a:latin typeface="Segoe UI Light"/>
                <a:ea typeface="+mn-ea"/>
                <a:cs typeface="+mn-cs"/>
              </a:rPr>
              <a:t>데이터센터 건물의 축구장과의 크기비교</a:t>
            </a:r>
            <a:endParaRPr kumimoji="0" lang="en-US" sz="4411" b="0" i="0" u="none" strike="noStrike" kern="1200" cap="none" spc="0" normalizeH="0" baseline="0" noProof="0" dirty="0">
              <a:ln>
                <a:noFill/>
              </a:ln>
              <a:solidFill>
                <a:srgbClr val="505050">
                  <a:lumMod val="75000"/>
                </a:srgbClr>
              </a:solidFill>
              <a:effectLst/>
              <a:uLnTx/>
              <a:uFillTx/>
              <a:latin typeface="Segoe UI Light"/>
              <a:ea typeface="+mn-ea"/>
              <a:cs typeface="+mn-cs"/>
            </a:endParaRPr>
          </a:p>
        </p:txBody>
      </p:sp>
      <p:pic>
        <p:nvPicPr>
          <p:cNvPr id="3" name="Picture 2"/>
          <p:cNvPicPr>
            <a:picLocks noChangeAspect="1"/>
          </p:cNvPicPr>
          <p:nvPr/>
        </p:nvPicPr>
        <p:blipFill>
          <a:blip r:embed="rId3"/>
          <a:stretch>
            <a:fillRect/>
          </a:stretch>
        </p:blipFill>
        <p:spPr>
          <a:xfrm rot="16200000">
            <a:off x="3805851" y="-1998638"/>
            <a:ext cx="4346297" cy="9048849"/>
          </a:xfrm>
          <a:prstGeom prst="rect">
            <a:avLst/>
          </a:prstGeom>
        </p:spPr>
      </p:pic>
      <p:sp>
        <p:nvSpPr>
          <p:cNvPr id="5" name="Rectangle 4"/>
          <p:cNvSpPr/>
          <p:nvPr/>
        </p:nvSpPr>
        <p:spPr bwMode="auto">
          <a:xfrm>
            <a:off x="1763280" y="352636"/>
            <a:ext cx="8516036" cy="4346298"/>
          </a:xfrm>
          <a:prstGeom prst="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3211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68"/>
                                        </p:tgtEl>
                                        <p:attrNameLst>
                                          <p:attrName>style.visibility</p:attrName>
                                        </p:attrNameLst>
                                      </p:cBhvr>
                                      <p:to>
                                        <p:strVal val="visible"/>
                                      </p:to>
                                    </p:set>
                                    <p:animEffect transition="in" filter="fade">
                                      <p:cBhvr>
                                        <p:cTn id="7" dur="500"/>
                                        <p:tgtEl>
                                          <p:spTgt spid="8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8" name="TextBox 867"/>
          <p:cNvSpPr txBox="1"/>
          <p:nvPr/>
        </p:nvSpPr>
        <p:spPr>
          <a:xfrm>
            <a:off x="1912684" y="4980375"/>
            <a:ext cx="8366633" cy="1511287"/>
          </a:xfrm>
          <a:prstGeom prst="rect">
            <a:avLst/>
          </a:prstGeom>
          <a:noFill/>
        </p:spPr>
        <p:txBody>
          <a:bodyPr wrap="square" lIns="179212" tIns="143371" rIns="179212" bIns="143371" rtlCol="0" anchor="ctr" anchorCtr="0">
            <a:spAutoFit/>
          </a:bodyPr>
          <a:lstStyle/>
          <a:p>
            <a:pPr marL="0" marR="0" lvl="0" indent="0" algn="ctr" defTabSz="914004" rtl="0" eaLnBrk="1" fontAlgn="auto" latinLnBrk="0" hangingPunct="1">
              <a:lnSpc>
                <a:spcPct val="90000"/>
              </a:lnSpc>
              <a:spcBef>
                <a:spcPts val="0"/>
              </a:spcBef>
              <a:spcAft>
                <a:spcPts val="588"/>
              </a:spcAft>
              <a:buClrTx/>
              <a:buSzTx/>
              <a:buFontTx/>
              <a:buNone/>
              <a:tabLst/>
              <a:defRPr/>
            </a:pPr>
            <a:r>
              <a:rPr kumimoji="0" lang="en-US"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a:t>
            </a:r>
            <a:r>
              <a:rPr kumimoji="0" lang="ko-KR" altLang="en-US"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축구장은 점보제트기 </a:t>
            </a:r>
            <a:r>
              <a:rPr kumimoji="0" lang="en-US" altLang="ko-KR"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2</a:t>
            </a:r>
            <a:r>
              <a:rPr kumimoji="0" lang="ko-KR" altLang="en-US"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대 규모</a:t>
            </a:r>
            <a:endParaRPr kumimoji="0" lang="en-US" sz="4411" b="0" i="0" u="none" strike="noStrike" kern="1200" cap="none" spc="0" normalizeH="0" baseline="0" noProof="0" dirty="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endParaRPr>
          </a:p>
        </p:txBody>
      </p:sp>
      <p:pic>
        <p:nvPicPr>
          <p:cNvPr id="3" name="Picture 2"/>
          <p:cNvPicPr>
            <a:picLocks noChangeAspect="1"/>
          </p:cNvPicPr>
          <p:nvPr/>
        </p:nvPicPr>
        <p:blipFill>
          <a:blip r:embed="rId3"/>
          <a:stretch>
            <a:fillRect/>
          </a:stretch>
        </p:blipFill>
        <p:spPr>
          <a:xfrm rot="16200000">
            <a:off x="3805851" y="-1998638"/>
            <a:ext cx="4346297" cy="9048849"/>
          </a:xfrm>
          <a:prstGeom prst="rect">
            <a:avLst/>
          </a:prstGeom>
        </p:spPr>
      </p:pic>
      <p:pic>
        <p:nvPicPr>
          <p:cNvPr id="7" name="Picture 6"/>
          <p:cNvPicPr>
            <a:picLocks noChangeAspect="1"/>
          </p:cNvPicPr>
          <p:nvPr/>
        </p:nvPicPr>
        <p:blipFill>
          <a:blip r:embed="rId4"/>
          <a:stretch>
            <a:fillRect/>
          </a:stretch>
        </p:blipFill>
        <p:spPr>
          <a:xfrm rot="16200000">
            <a:off x="10036733" y="639168"/>
            <a:ext cx="3436295" cy="3701442"/>
          </a:xfrm>
          <a:prstGeom prst="rect">
            <a:avLst/>
          </a:prstGeom>
        </p:spPr>
      </p:pic>
      <p:pic>
        <p:nvPicPr>
          <p:cNvPr id="8" name="Picture 7"/>
          <p:cNvPicPr>
            <a:picLocks noChangeAspect="1"/>
          </p:cNvPicPr>
          <p:nvPr/>
        </p:nvPicPr>
        <p:blipFill>
          <a:blip r:embed="rId4"/>
          <a:stretch>
            <a:fillRect/>
          </a:stretch>
        </p:blipFill>
        <p:spPr>
          <a:xfrm rot="16200000">
            <a:off x="13953256" y="639168"/>
            <a:ext cx="3436295" cy="3701442"/>
          </a:xfrm>
          <a:prstGeom prst="rect">
            <a:avLst/>
          </a:prstGeom>
        </p:spPr>
      </p:pic>
      <p:sp>
        <p:nvSpPr>
          <p:cNvPr id="6" name="Rectangle 5"/>
          <p:cNvSpPr/>
          <p:nvPr/>
        </p:nvSpPr>
        <p:spPr bwMode="auto">
          <a:xfrm>
            <a:off x="1763280" y="352636"/>
            <a:ext cx="8516036" cy="4346298"/>
          </a:xfrm>
          <a:prstGeom prst="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19946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par>
                                <p:cTn id="8" presetID="35" presetClass="path" presetSubtype="0" accel="50000" decel="50000" fill="hold" nodeType="withEffect">
                                  <p:stCondLst>
                                    <p:cond delay="0"/>
                                  </p:stCondLst>
                                  <p:childTnLst>
                                    <p:animMotion origin="layout" path="M -7.1228E-7 -4.2079E-6 L -0.62344 -4.2079E-6 " pathEditMode="relative" rAng="0" ptsTypes="AA">
                                      <p:cBhvr>
                                        <p:cTn id="9" dur="2000" fill="hold"/>
                                        <p:tgtEl>
                                          <p:spTgt spid="7"/>
                                        </p:tgtEl>
                                        <p:attrNameLst>
                                          <p:attrName>ppt_x</p:attrName>
                                          <p:attrName>ppt_y</p:attrName>
                                        </p:attrNameLst>
                                      </p:cBhvr>
                                      <p:rCtr x="-31172" y="0"/>
                                    </p:animMotion>
                                  </p:childTnLst>
                                </p:cTn>
                              </p:par>
                              <p:par>
                                <p:cTn id="10" presetID="10" presetClass="entr" presetSubtype="0" fill="hold" nodeType="withEffect">
                                  <p:stCondLst>
                                    <p:cond delay="10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000"/>
                                        <p:tgtEl>
                                          <p:spTgt spid="8"/>
                                        </p:tgtEl>
                                      </p:cBhvr>
                                    </p:animEffect>
                                  </p:childTnLst>
                                </p:cTn>
                              </p:par>
                              <p:par>
                                <p:cTn id="13" presetID="35" presetClass="path" presetSubtype="0" accel="50000" decel="50000" fill="hold" nodeType="withEffect">
                                  <p:stCondLst>
                                    <p:cond delay="1000"/>
                                  </p:stCondLst>
                                  <p:childTnLst>
                                    <p:animMotion origin="layout" path="M -2.51723E-6 -4.2079E-6 L -0.62611 -4.2079E-6 " pathEditMode="relative" rAng="0" ptsTypes="AA">
                                      <p:cBhvr>
                                        <p:cTn id="14" dur="2000" fill="hold"/>
                                        <p:tgtEl>
                                          <p:spTgt spid="8"/>
                                        </p:tgtEl>
                                        <p:attrNameLst>
                                          <p:attrName>ppt_x</p:attrName>
                                          <p:attrName>ppt_y</p:attrName>
                                        </p:attrNameLst>
                                      </p:cBhvr>
                                      <p:rCtr x="-3131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1539174" y="5054064"/>
            <a:ext cx="8607182" cy="1511534"/>
          </a:xfrm>
          <a:prstGeom prst="rect">
            <a:avLst/>
          </a:prstGeom>
          <a:noFill/>
        </p:spPr>
        <p:txBody>
          <a:bodyPr wrap="square" lIns="179212" tIns="143371" rIns="179212" bIns="143371" rtlCol="0" anchor="ctr" anchorCtr="0">
            <a:spAutoFit/>
          </a:bodyPr>
          <a:lstStyle/>
          <a:p>
            <a:pPr marL="0" marR="0" lvl="0" indent="0" algn="ctr" defTabSz="914004" rtl="0" eaLnBrk="1" fontAlgn="auto" latinLnBrk="0" hangingPunct="1">
              <a:lnSpc>
                <a:spcPct val="90000"/>
              </a:lnSpc>
              <a:spcBef>
                <a:spcPts val="0"/>
              </a:spcBef>
              <a:spcAft>
                <a:spcPts val="588"/>
              </a:spcAft>
              <a:buClrTx/>
              <a:buSzTx/>
              <a:buFontTx/>
              <a:buNone/>
              <a:tabLst/>
              <a:defRPr/>
            </a:pPr>
            <a:r>
              <a:rPr kumimoji="0" lang="ko-KR" altLang="en-US"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개별지역당 </a:t>
            </a:r>
            <a:r>
              <a:rPr kumimoji="0" lang="en-US"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60</a:t>
            </a:r>
            <a:r>
              <a:rPr kumimoji="0" lang="ko-KR" altLang="en-US"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만개의 서버가 위치</a:t>
            </a:r>
            <a:endParaRPr kumimoji="0" lang="en-US" sz="4411" b="0" i="0" u="none" strike="noStrike" kern="1200" cap="none" spc="0" normalizeH="0" baseline="0" noProof="0" dirty="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endParaRPr>
          </a:p>
        </p:txBody>
      </p:sp>
      <p:grpSp>
        <p:nvGrpSpPr>
          <p:cNvPr id="2" name="Group 1"/>
          <p:cNvGrpSpPr/>
          <p:nvPr/>
        </p:nvGrpSpPr>
        <p:grpSpPr>
          <a:xfrm>
            <a:off x="1454575" y="352638"/>
            <a:ext cx="9048849" cy="4346297"/>
            <a:chOff x="1483741" y="359212"/>
            <a:chExt cx="9230297" cy="4433449"/>
          </a:xfrm>
        </p:grpSpPr>
        <p:pic>
          <p:nvPicPr>
            <p:cNvPr id="3" name="Picture 2"/>
            <p:cNvPicPr>
              <a:picLocks noChangeAspect="1"/>
            </p:cNvPicPr>
            <p:nvPr/>
          </p:nvPicPr>
          <p:blipFill>
            <a:blip r:embed="rId3"/>
            <a:stretch>
              <a:fillRect/>
            </a:stretch>
          </p:blipFill>
          <p:spPr>
            <a:xfrm rot="16200000">
              <a:off x="3882165" y="-2039212"/>
              <a:ext cx="4433449" cy="9230297"/>
            </a:xfrm>
            <a:prstGeom prst="rect">
              <a:avLst/>
            </a:prstGeom>
          </p:spPr>
        </p:pic>
        <p:pic>
          <p:nvPicPr>
            <p:cNvPr id="5" name="Picture 4"/>
            <p:cNvPicPr>
              <a:picLocks noChangeAspect="1"/>
            </p:cNvPicPr>
            <p:nvPr/>
          </p:nvPicPr>
          <p:blipFill>
            <a:blip r:embed="rId4"/>
            <a:stretch>
              <a:fillRect/>
            </a:stretch>
          </p:blipFill>
          <p:spPr>
            <a:xfrm rot="16200000">
              <a:off x="2467269" y="651488"/>
              <a:ext cx="3505200" cy="3775664"/>
            </a:xfrm>
            <a:prstGeom prst="rect">
              <a:avLst/>
            </a:prstGeom>
          </p:spPr>
        </p:pic>
        <p:pic>
          <p:nvPicPr>
            <p:cNvPr id="6" name="Picture 5"/>
            <p:cNvPicPr>
              <a:picLocks noChangeAspect="1"/>
            </p:cNvPicPr>
            <p:nvPr/>
          </p:nvPicPr>
          <p:blipFill>
            <a:blip r:embed="rId4"/>
            <a:stretch>
              <a:fillRect/>
            </a:stretch>
          </p:blipFill>
          <p:spPr>
            <a:xfrm rot="16200000">
              <a:off x="6462326" y="651488"/>
              <a:ext cx="3505200" cy="3775664"/>
            </a:xfrm>
            <a:prstGeom prst="rect">
              <a:avLst/>
            </a:prstGeom>
          </p:spPr>
        </p:pic>
      </p:grpSp>
      <p:pic>
        <p:nvPicPr>
          <p:cNvPr id="4" name="Picture 3"/>
          <p:cNvPicPr>
            <a:picLocks noChangeAspect="1"/>
          </p:cNvPicPr>
          <p:nvPr/>
        </p:nvPicPr>
        <p:blipFill>
          <a:blip r:embed="rId5"/>
          <a:stretch>
            <a:fillRect/>
          </a:stretch>
        </p:blipFill>
        <p:spPr>
          <a:xfrm rot="16200000">
            <a:off x="8557786" y="2193098"/>
            <a:ext cx="992596" cy="1852847"/>
          </a:xfrm>
          <a:prstGeom prst="rect">
            <a:avLst/>
          </a:prstGeom>
        </p:spPr>
      </p:pic>
      <p:sp>
        <p:nvSpPr>
          <p:cNvPr id="868" name="TextBox 867"/>
          <p:cNvSpPr txBox="1"/>
          <p:nvPr/>
        </p:nvSpPr>
        <p:spPr>
          <a:xfrm>
            <a:off x="1179047" y="5054064"/>
            <a:ext cx="10047340" cy="900538"/>
          </a:xfrm>
          <a:prstGeom prst="rect">
            <a:avLst/>
          </a:prstGeom>
          <a:noFill/>
        </p:spPr>
        <p:txBody>
          <a:bodyPr wrap="square" lIns="179212" tIns="143371" rIns="179212" bIns="143371" rtlCol="0" anchor="ctr" anchorCtr="0">
            <a:spAutoFit/>
          </a:bodyPr>
          <a:lstStyle/>
          <a:p>
            <a:pPr marL="0" marR="0" lvl="0" indent="0" algn="ctr" defTabSz="914004" rtl="0" eaLnBrk="1" fontAlgn="auto" latinLnBrk="0" hangingPunct="1">
              <a:lnSpc>
                <a:spcPct val="90000"/>
              </a:lnSpc>
              <a:spcBef>
                <a:spcPts val="0"/>
              </a:spcBef>
              <a:spcAft>
                <a:spcPts val="588"/>
              </a:spcAft>
              <a:buClrTx/>
              <a:buSzTx/>
              <a:buFontTx/>
              <a:buNone/>
              <a:tabLst/>
              <a:defRPr/>
            </a:pPr>
            <a:r>
              <a:rPr kumimoji="0" lang="ko-KR" altLang="en-US"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지역 별 </a:t>
            </a:r>
            <a:r>
              <a:rPr kumimoji="0" lang="en-US" altLang="ko-KR"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16</a:t>
            </a:r>
            <a:r>
              <a:rPr kumimoji="0" lang="ko-KR" altLang="en-US"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개의 빌딩으로 구성</a:t>
            </a:r>
            <a:r>
              <a:rPr kumimoji="0" lang="en-US" sz="4411" b="0" i="0" u="none" strike="noStrike" kern="1200" cap="none" spc="0" normalizeH="0" baseline="0" noProof="0" dirty="0" smtClean="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rPr>
              <a:t>…</a:t>
            </a:r>
            <a:endParaRPr kumimoji="0" lang="en-US" sz="4411" b="0" i="0" u="none" strike="noStrike" kern="1200" cap="none" spc="0" normalizeH="0" baseline="0" noProof="0" dirty="0">
              <a:ln>
                <a:noFill/>
              </a:ln>
              <a:solidFill>
                <a:srgbClr val="505050">
                  <a:lumMod val="75000"/>
                </a:srgbClr>
              </a:solidFill>
              <a:effectLst/>
              <a:uLnTx/>
              <a:uFillTx/>
              <a:latin typeface="맑은 고딕" panose="020B0503020000020004" pitchFamily="50" charset="-127"/>
              <a:ea typeface="맑은 고딕" panose="020B0503020000020004" pitchFamily="50" charset="-127"/>
              <a:cs typeface="+mn-cs"/>
            </a:endParaRPr>
          </a:p>
        </p:txBody>
      </p:sp>
      <p:pic>
        <p:nvPicPr>
          <p:cNvPr id="8" name="Picture 7"/>
          <p:cNvPicPr>
            <a:picLocks noChangeAspect="1"/>
          </p:cNvPicPr>
          <p:nvPr/>
        </p:nvPicPr>
        <p:blipFill>
          <a:blip r:embed="rId5"/>
          <a:stretch>
            <a:fillRect/>
          </a:stretch>
        </p:blipFill>
        <p:spPr>
          <a:xfrm rot="16200000">
            <a:off x="8557786" y="1083239"/>
            <a:ext cx="992596" cy="1852847"/>
          </a:xfrm>
          <a:prstGeom prst="rect">
            <a:avLst/>
          </a:prstGeom>
        </p:spPr>
      </p:pic>
      <p:pic>
        <p:nvPicPr>
          <p:cNvPr id="9" name="Picture 8"/>
          <p:cNvPicPr>
            <a:picLocks noChangeAspect="1"/>
          </p:cNvPicPr>
          <p:nvPr/>
        </p:nvPicPr>
        <p:blipFill>
          <a:blip r:embed="rId5"/>
          <a:stretch>
            <a:fillRect/>
          </a:stretch>
        </p:blipFill>
        <p:spPr>
          <a:xfrm rot="16200000">
            <a:off x="8557786" y="-26620"/>
            <a:ext cx="992596" cy="1852847"/>
          </a:xfrm>
          <a:prstGeom prst="rect">
            <a:avLst/>
          </a:prstGeom>
        </p:spPr>
      </p:pic>
      <p:pic>
        <p:nvPicPr>
          <p:cNvPr id="10" name="Picture 9"/>
          <p:cNvPicPr>
            <a:picLocks noChangeAspect="1"/>
          </p:cNvPicPr>
          <p:nvPr/>
        </p:nvPicPr>
        <p:blipFill>
          <a:blip r:embed="rId5"/>
          <a:stretch>
            <a:fillRect/>
          </a:stretch>
        </p:blipFill>
        <p:spPr>
          <a:xfrm rot="16200000">
            <a:off x="8557786" y="3281614"/>
            <a:ext cx="992596" cy="1852847"/>
          </a:xfrm>
          <a:prstGeom prst="rect">
            <a:avLst/>
          </a:prstGeom>
        </p:spPr>
      </p:pic>
      <p:pic>
        <p:nvPicPr>
          <p:cNvPr id="15" name="Picture 14"/>
          <p:cNvPicPr>
            <a:picLocks noChangeAspect="1"/>
          </p:cNvPicPr>
          <p:nvPr/>
        </p:nvPicPr>
        <p:blipFill>
          <a:blip r:embed="rId5"/>
          <a:stretch>
            <a:fillRect/>
          </a:stretch>
        </p:blipFill>
        <p:spPr>
          <a:xfrm rot="16200000">
            <a:off x="6583517" y="2193098"/>
            <a:ext cx="992596" cy="1852847"/>
          </a:xfrm>
          <a:prstGeom prst="rect">
            <a:avLst/>
          </a:prstGeom>
        </p:spPr>
      </p:pic>
      <p:pic>
        <p:nvPicPr>
          <p:cNvPr id="16" name="Picture 15"/>
          <p:cNvPicPr>
            <a:picLocks noChangeAspect="1"/>
          </p:cNvPicPr>
          <p:nvPr/>
        </p:nvPicPr>
        <p:blipFill>
          <a:blip r:embed="rId5"/>
          <a:stretch>
            <a:fillRect/>
          </a:stretch>
        </p:blipFill>
        <p:spPr>
          <a:xfrm rot="16200000">
            <a:off x="6583517" y="1083239"/>
            <a:ext cx="992596" cy="1852847"/>
          </a:xfrm>
          <a:prstGeom prst="rect">
            <a:avLst/>
          </a:prstGeom>
        </p:spPr>
      </p:pic>
      <p:pic>
        <p:nvPicPr>
          <p:cNvPr id="17" name="Picture 16"/>
          <p:cNvPicPr>
            <a:picLocks noChangeAspect="1"/>
          </p:cNvPicPr>
          <p:nvPr/>
        </p:nvPicPr>
        <p:blipFill>
          <a:blip r:embed="rId5"/>
          <a:stretch>
            <a:fillRect/>
          </a:stretch>
        </p:blipFill>
        <p:spPr>
          <a:xfrm rot="16200000">
            <a:off x="6583517" y="-26620"/>
            <a:ext cx="992596" cy="1852847"/>
          </a:xfrm>
          <a:prstGeom prst="rect">
            <a:avLst/>
          </a:prstGeom>
        </p:spPr>
      </p:pic>
      <p:pic>
        <p:nvPicPr>
          <p:cNvPr id="18" name="Picture 17"/>
          <p:cNvPicPr>
            <a:picLocks noChangeAspect="1"/>
          </p:cNvPicPr>
          <p:nvPr/>
        </p:nvPicPr>
        <p:blipFill>
          <a:blip r:embed="rId5"/>
          <a:stretch>
            <a:fillRect/>
          </a:stretch>
        </p:blipFill>
        <p:spPr>
          <a:xfrm rot="16200000">
            <a:off x="6583517" y="3281614"/>
            <a:ext cx="992596" cy="1852847"/>
          </a:xfrm>
          <a:prstGeom prst="rect">
            <a:avLst/>
          </a:prstGeom>
        </p:spPr>
      </p:pic>
      <p:pic>
        <p:nvPicPr>
          <p:cNvPr id="19" name="Picture 18"/>
          <p:cNvPicPr>
            <a:picLocks noChangeAspect="1"/>
          </p:cNvPicPr>
          <p:nvPr/>
        </p:nvPicPr>
        <p:blipFill>
          <a:blip r:embed="rId5"/>
          <a:stretch>
            <a:fillRect/>
          </a:stretch>
        </p:blipFill>
        <p:spPr>
          <a:xfrm rot="16200000">
            <a:off x="4615887" y="2193098"/>
            <a:ext cx="992596" cy="1852847"/>
          </a:xfrm>
          <a:prstGeom prst="rect">
            <a:avLst/>
          </a:prstGeom>
        </p:spPr>
      </p:pic>
      <p:pic>
        <p:nvPicPr>
          <p:cNvPr id="20" name="Picture 19"/>
          <p:cNvPicPr>
            <a:picLocks noChangeAspect="1"/>
          </p:cNvPicPr>
          <p:nvPr/>
        </p:nvPicPr>
        <p:blipFill>
          <a:blip r:embed="rId5"/>
          <a:stretch>
            <a:fillRect/>
          </a:stretch>
        </p:blipFill>
        <p:spPr>
          <a:xfrm rot="16200000">
            <a:off x="4615887" y="1083239"/>
            <a:ext cx="992596" cy="1852847"/>
          </a:xfrm>
          <a:prstGeom prst="rect">
            <a:avLst/>
          </a:prstGeom>
        </p:spPr>
      </p:pic>
      <p:pic>
        <p:nvPicPr>
          <p:cNvPr id="21" name="Picture 20"/>
          <p:cNvPicPr>
            <a:picLocks noChangeAspect="1"/>
          </p:cNvPicPr>
          <p:nvPr/>
        </p:nvPicPr>
        <p:blipFill>
          <a:blip r:embed="rId5"/>
          <a:stretch>
            <a:fillRect/>
          </a:stretch>
        </p:blipFill>
        <p:spPr>
          <a:xfrm rot="16200000">
            <a:off x="4615887" y="-26620"/>
            <a:ext cx="992596" cy="1852847"/>
          </a:xfrm>
          <a:prstGeom prst="rect">
            <a:avLst/>
          </a:prstGeom>
        </p:spPr>
      </p:pic>
      <p:pic>
        <p:nvPicPr>
          <p:cNvPr id="22" name="Picture 21"/>
          <p:cNvPicPr>
            <a:picLocks noChangeAspect="1"/>
          </p:cNvPicPr>
          <p:nvPr/>
        </p:nvPicPr>
        <p:blipFill>
          <a:blip r:embed="rId5"/>
          <a:stretch>
            <a:fillRect/>
          </a:stretch>
        </p:blipFill>
        <p:spPr>
          <a:xfrm rot="16200000">
            <a:off x="4615887" y="3281614"/>
            <a:ext cx="992596" cy="1852847"/>
          </a:xfrm>
          <a:prstGeom prst="rect">
            <a:avLst/>
          </a:prstGeom>
        </p:spPr>
      </p:pic>
      <p:pic>
        <p:nvPicPr>
          <p:cNvPr id="23" name="Picture 22"/>
          <p:cNvPicPr>
            <a:picLocks noChangeAspect="1"/>
          </p:cNvPicPr>
          <p:nvPr/>
        </p:nvPicPr>
        <p:blipFill>
          <a:blip r:embed="rId5"/>
          <a:stretch>
            <a:fillRect/>
          </a:stretch>
        </p:blipFill>
        <p:spPr>
          <a:xfrm rot="16200000">
            <a:off x="2641618" y="2193098"/>
            <a:ext cx="992596" cy="1852847"/>
          </a:xfrm>
          <a:prstGeom prst="rect">
            <a:avLst/>
          </a:prstGeom>
        </p:spPr>
      </p:pic>
      <p:pic>
        <p:nvPicPr>
          <p:cNvPr id="24" name="Picture 23"/>
          <p:cNvPicPr>
            <a:picLocks noChangeAspect="1"/>
          </p:cNvPicPr>
          <p:nvPr/>
        </p:nvPicPr>
        <p:blipFill>
          <a:blip r:embed="rId5"/>
          <a:stretch>
            <a:fillRect/>
          </a:stretch>
        </p:blipFill>
        <p:spPr>
          <a:xfrm rot="16200000">
            <a:off x="2641618" y="1083239"/>
            <a:ext cx="992596" cy="1852847"/>
          </a:xfrm>
          <a:prstGeom prst="rect">
            <a:avLst/>
          </a:prstGeom>
        </p:spPr>
      </p:pic>
      <p:pic>
        <p:nvPicPr>
          <p:cNvPr id="25" name="Picture 24"/>
          <p:cNvPicPr>
            <a:picLocks noChangeAspect="1"/>
          </p:cNvPicPr>
          <p:nvPr/>
        </p:nvPicPr>
        <p:blipFill>
          <a:blip r:embed="rId5"/>
          <a:stretch>
            <a:fillRect/>
          </a:stretch>
        </p:blipFill>
        <p:spPr>
          <a:xfrm rot="16200000">
            <a:off x="2641618" y="-26620"/>
            <a:ext cx="992596" cy="1852847"/>
          </a:xfrm>
          <a:prstGeom prst="rect">
            <a:avLst/>
          </a:prstGeom>
        </p:spPr>
      </p:pic>
      <p:pic>
        <p:nvPicPr>
          <p:cNvPr id="26" name="Picture 25"/>
          <p:cNvPicPr>
            <a:picLocks noChangeAspect="1"/>
          </p:cNvPicPr>
          <p:nvPr/>
        </p:nvPicPr>
        <p:blipFill>
          <a:blip r:embed="rId5"/>
          <a:stretch>
            <a:fillRect/>
          </a:stretch>
        </p:blipFill>
        <p:spPr>
          <a:xfrm rot="16200000">
            <a:off x="2641618" y="3281614"/>
            <a:ext cx="992596" cy="1852847"/>
          </a:xfrm>
          <a:prstGeom prst="rect">
            <a:avLst/>
          </a:prstGeom>
        </p:spPr>
      </p:pic>
      <p:sp>
        <p:nvSpPr>
          <p:cNvPr id="27" name="Rectangle 26"/>
          <p:cNvSpPr/>
          <p:nvPr/>
        </p:nvSpPr>
        <p:spPr bwMode="auto">
          <a:xfrm>
            <a:off x="1763280" y="352636"/>
            <a:ext cx="8516036" cy="4346298"/>
          </a:xfrm>
          <a:prstGeom prst="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0829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xit" presetSubtype="544" fill="hold" nodeType="afterEffect">
                                  <p:stCondLst>
                                    <p:cond delay="0"/>
                                  </p:stCondLst>
                                  <p:childTnLst>
                                    <p:anim calcmode="lin" valueType="num">
                                      <p:cBhvr>
                                        <p:cTn id="6" dur="1000"/>
                                        <p:tgtEl>
                                          <p:spTgt spid="2"/>
                                        </p:tgtEl>
                                        <p:attrNameLst>
                                          <p:attrName>ppt_w</p:attrName>
                                        </p:attrNameLst>
                                      </p:cBhvr>
                                      <p:tavLst>
                                        <p:tav tm="0">
                                          <p:val>
                                            <p:strVal val="ppt_w"/>
                                          </p:val>
                                        </p:tav>
                                        <p:tav tm="100000">
                                          <p:val>
                                            <p:fltVal val="0"/>
                                          </p:val>
                                        </p:tav>
                                      </p:tavLst>
                                    </p:anim>
                                    <p:anim calcmode="lin" valueType="num">
                                      <p:cBhvr>
                                        <p:cTn id="7" dur="1000"/>
                                        <p:tgtEl>
                                          <p:spTgt spid="2"/>
                                        </p:tgtEl>
                                        <p:attrNameLst>
                                          <p:attrName>ppt_h</p:attrName>
                                        </p:attrNameLst>
                                      </p:cBhvr>
                                      <p:tavLst>
                                        <p:tav tm="0">
                                          <p:val>
                                            <p:strVal val="ppt_h"/>
                                          </p:val>
                                        </p:tav>
                                        <p:tav tm="100000">
                                          <p:val>
                                            <p:fltVal val="0"/>
                                          </p:val>
                                        </p:tav>
                                      </p:tavLst>
                                    </p:anim>
                                    <p:animEffect transition="out" filter="fade">
                                      <p:cBhvr>
                                        <p:cTn id="8" dur="1000"/>
                                        <p:tgtEl>
                                          <p:spTgt spid="2"/>
                                        </p:tgtEl>
                                      </p:cBhvr>
                                    </p:animEffect>
                                    <p:anim calcmode="lin" valueType="num">
                                      <p:cBhvr>
                                        <p:cTn id="9" dur="1000"/>
                                        <p:tgtEl>
                                          <p:spTgt spid="2"/>
                                        </p:tgtEl>
                                        <p:attrNameLst>
                                          <p:attrName>ppt_x</p:attrName>
                                        </p:attrNameLst>
                                      </p:cBhvr>
                                      <p:tavLst>
                                        <p:tav tm="0">
                                          <p:val>
                                            <p:strVal val="ppt_x"/>
                                          </p:val>
                                        </p:tav>
                                        <p:tav tm="100000">
                                          <p:val>
                                            <p:fltVal val="0.5"/>
                                          </p:val>
                                        </p:tav>
                                      </p:tavLst>
                                    </p:anim>
                                    <p:anim calcmode="lin" valueType="num">
                                      <p:cBhvr>
                                        <p:cTn id="10" dur="1000"/>
                                        <p:tgtEl>
                                          <p:spTgt spid="2"/>
                                        </p:tgtEl>
                                        <p:attrNameLst>
                                          <p:attrName>ppt_y</p:attrName>
                                        </p:attrNameLst>
                                      </p:cBhvr>
                                      <p:tavLst>
                                        <p:tav tm="0">
                                          <p:val>
                                            <p:strVal val="ppt_y"/>
                                          </p:val>
                                        </p:tav>
                                        <p:tav tm="100000">
                                          <p:val>
                                            <p:fltVal val="0.5"/>
                                          </p:val>
                                        </p:tav>
                                      </p:tavLst>
                                    </p:anim>
                                    <p:set>
                                      <p:cBhvr>
                                        <p:cTn id="11" dur="1" fill="hold">
                                          <p:stCondLst>
                                            <p:cond delay="999"/>
                                          </p:stCondLst>
                                        </p:cTn>
                                        <p:tgtEl>
                                          <p:spTgt spid="2"/>
                                        </p:tgtEl>
                                        <p:attrNameLst>
                                          <p:attrName>style.visibility</p:attrName>
                                        </p:attrNameLst>
                                      </p:cBhvr>
                                      <p:to>
                                        <p:strVal val="hidden"/>
                                      </p:to>
                                    </p:set>
                                  </p:childTnLst>
                                </p:cTn>
                              </p:par>
                              <p:par>
                                <p:cTn id="12" presetID="10" presetClass="exit" presetSubtype="0" fill="hold" grpId="0" nodeType="withEffect">
                                  <p:stCondLst>
                                    <p:cond delay="0"/>
                                  </p:stCondLst>
                                  <p:childTnLst>
                                    <p:animEffect transition="out" filter="fade">
                                      <p:cBhvr>
                                        <p:cTn id="13" dur="500"/>
                                        <p:tgtEl>
                                          <p:spTgt spid="27"/>
                                        </p:tgtEl>
                                      </p:cBhvr>
                                    </p:animEffect>
                                    <p:set>
                                      <p:cBhvr>
                                        <p:cTn id="14" dur="1" fill="hold">
                                          <p:stCondLst>
                                            <p:cond delay="499"/>
                                          </p:stCondLst>
                                        </p:cTn>
                                        <p:tgtEl>
                                          <p:spTgt spid="27"/>
                                        </p:tgtEl>
                                        <p:attrNameLst>
                                          <p:attrName>style.visibility</p:attrName>
                                        </p:attrNameLst>
                                      </p:cBhvr>
                                      <p:to>
                                        <p:strVal val="hidden"/>
                                      </p:to>
                                    </p:set>
                                  </p:childTnLst>
                                </p:cTn>
                              </p:par>
                              <p:par>
                                <p:cTn id="15" presetID="42" presetClass="path" presetSubtype="0" accel="50000" decel="50000" fill="hold" nodeType="withEffect">
                                  <p:stCondLst>
                                    <p:cond delay="0"/>
                                  </p:stCondLst>
                                  <p:childTnLst>
                                    <p:animMotion origin="layout" path="M 3.65331E-6 -4.36223E-6 L -0.22326 -0.23853 " pathEditMode="relative" rAng="0" ptsTypes="AA">
                                      <p:cBhvr>
                                        <p:cTn id="16" dur="1000" fill="hold"/>
                                        <p:tgtEl>
                                          <p:spTgt spid="2"/>
                                        </p:tgtEl>
                                        <p:attrNameLst>
                                          <p:attrName>ppt_x</p:attrName>
                                          <p:attrName>ppt_y</p:attrName>
                                        </p:attrNameLst>
                                      </p:cBhvr>
                                      <p:rCtr x="-11169" y="-11938"/>
                                    </p:animMotion>
                                  </p:childTnLst>
                                </p:cTn>
                              </p:par>
                              <p:par>
                                <p:cTn id="17" presetID="10" presetClass="entr" presetSubtype="0" fill="hold" nodeType="withEffect">
                                  <p:stCondLst>
                                    <p:cond delay="5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par>
                                <p:cTn id="24" presetID="10" presetClass="entr" presetSubtype="0" fill="hold" nodeType="withEffect">
                                  <p:stCondLst>
                                    <p:cond delay="10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nodeType="withEffect">
                                  <p:stCondLst>
                                    <p:cond delay="20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nodeType="withEffect">
                                  <p:stCondLst>
                                    <p:cond delay="30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nodeType="withEffect">
                                  <p:stCondLst>
                                    <p:cond delay="4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nodeType="withEffect">
                                  <p:stCondLst>
                                    <p:cond delay="50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nodeType="withEffect">
                                  <p:stCondLst>
                                    <p:cond delay="60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nodeType="withEffect">
                                  <p:stCondLst>
                                    <p:cond delay="65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par>
                                <p:cTn id="45" presetID="10" presetClass="entr" presetSubtype="0" fill="hold" nodeType="withEffect">
                                  <p:stCondLst>
                                    <p:cond delay="70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par>
                                <p:cTn id="48" presetID="10" presetClass="entr" presetSubtype="0" fill="hold" nodeType="withEffect">
                                  <p:stCondLst>
                                    <p:cond delay="75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nodeType="withEffect">
                                  <p:stCondLst>
                                    <p:cond delay="800"/>
                                  </p:stCondLst>
                                  <p:childTnLst>
                                    <p:set>
                                      <p:cBhvr>
                                        <p:cTn id="52" dur="1" fill="hold">
                                          <p:stCondLst>
                                            <p:cond delay="0"/>
                                          </p:stCondLst>
                                        </p:cTn>
                                        <p:tgtEl>
                                          <p:spTgt spid="15"/>
                                        </p:tgtEl>
                                        <p:attrNameLst>
                                          <p:attrName>style.visibility</p:attrName>
                                        </p:attrNameLst>
                                      </p:cBhvr>
                                      <p:to>
                                        <p:strVal val="visible"/>
                                      </p:to>
                                    </p:set>
                                    <p:animEffect transition="in" filter="fade">
                                      <p:cBhvr>
                                        <p:cTn id="53" dur="500"/>
                                        <p:tgtEl>
                                          <p:spTgt spid="15"/>
                                        </p:tgtEl>
                                      </p:cBhvr>
                                    </p:animEffect>
                                  </p:childTnLst>
                                </p:cTn>
                              </p:par>
                              <p:par>
                                <p:cTn id="54" presetID="10" presetClass="entr" presetSubtype="0" fill="hold" nodeType="withEffect">
                                  <p:stCondLst>
                                    <p:cond delay="90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500"/>
                                        <p:tgtEl>
                                          <p:spTgt spid="8"/>
                                        </p:tgtEl>
                                      </p:cBhvr>
                                    </p:animEffect>
                                  </p:childTnLst>
                                </p:cTn>
                              </p:par>
                              <p:par>
                                <p:cTn id="57" presetID="10" presetClass="entr" presetSubtype="0" fill="hold" nodeType="withEffect">
                                  <p:stCondLst>
                                    <p:cond delay="95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500"/>
                                        <p:tgtEl>
                                          <p:spTgt spid="18"/>
                                        </p:tgtEl>
                                      </p:cBhvr>
                                    </p:animEffect>
                                  </p:childTnLst>
                                </p:cTn>
                              </p:par>
                              <p:par>
                                <p:cTn id="60" presetID="10" presetClass="entr" presetSubtype="0" fill="hold" nodeType="withEffect">
                                  <p:stCondLst>
                                    <p:cond delay="100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par>
                                <p:cTn id="63" presetID="10" presetClass="entr" presetSubtype="0" fill="hold" nodeType="withEffect">
                                  <p:stCondLst>
                                    <p:cond delay="1050"/>
                                  </p:stCondLst>
                                  <p:childTnLst>
                                    <p:set>
                                      <p:cBhvr>
                                        <p:cTn id="64" dur="1" fill="hold">
                                          <p:stCondLst>
                                            <p:cond delay="0"/>
                                          </p:stCondLst>
                                        </p:cTn>
                                        <p:tgtEl>
                                          <p:spTgt spid="10"/>
                                        </p:tgtEl>
                                        <p:attrNameLst>
                                          <p:attrName>style.visibility</p:attrName>
                                        </p:attrNameLst>
                                      </p:cBhvr>
                                      <p:to>
                                        <p:strVal val="visible"/>
                                      </p:to>
                                    </p:set>
                                    <p:animEffect transition="in" filter="fade">
                                      <p:cBhvr>
                                        <p:cTn id="65" dur="500"/>
                                        <p:tgtEl>
                                          <p:spTgt spid="10"/>
                                        </p:tgtEl>
                                      </p:cBhvr>
                                    </p:animEffect>
                                  </p:childTnLst>
                                </p:cTn>
                              </p:par>
                            </p:childTnLst>
                          </p:cTn>
                        </p:par>
                        <p:par>
                          <p:cTn id="66" fill="hold">
                            <p:stCondLst>
                              <p:cond delay="2550"/>
                            </p:stCondLst>
                            <p:childTnLst>
                              <p:par>
                                <p:cTn id="67" presetID="10" presetClass="entr" presetSubtype="0" fill="hold" grpId="1" nodeType="afterEffect">
                                  <p:stCondLst>
                                    <p:cond delay="0"/>
                                  </p:stCondLst>
                                  <p:childTnLst>
                                    <p:set>
                                      <p:cBhvr>
                                        <p:cTn id="68" dur="1" fill="hold">
                                          <p:stCondLst>
                                            <p:cond delay="0"/>
                                          </p:stCondLst>
                                        </p:cTn>
                                        <p:tgtEl>
                                          <p:spTgt spid="868"/>
                                        </p:tgtEl>
                                        <p:attrNameLst>
                                          <p:attrName>style.visibility</p:attrName>
                                        </p:attrNameLst>
                                      </p:cBhvr>
                                      <p:to>
                                        <p:strVal val="visible"/>
                                      </p:to>
                                    </p:set>
                                    <p:animEffect transition="in" filter="fade">
                                      <p:cBhvr>
                                        <p:cTn id="69" dur="500"/>
                                        <p:tgtEl>
                                          <p:spTgt spid="868"/>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xit" presetSubtype="0" fill="hold" grpId="0" nodeType="clickEffect">
                                  <p:stCondLst>
                                    <p:cond delay="0"/>
                                  </p:stCondLst>
                                  <p:childTnLst>
                                    <p:animEffect transition="out" filter="fade">
                                      <p:cBhvr>
                                        <p:cTn id="73" dur="500"/>
                                        <p:tgtEl>
                                          <p:spTgt spid="868"/>
                                        </p:tgtEl>
                                      </p:cBhvr>
                                    </p:animEffect>
                                    <p:set>
                                      <p:cBhvr>
                                        <p:cTn id="74" dur="1" fill="hold">
                                          <p:stCondLst>
                                            <p:cond delay="499"/>
                                          </p:stCondLst>
                                        </p:cTn>
                                        <p:tgtEl>
                                          <p:spTgt spid="868"/>
                                        </p:tgtEl>
                                        <p:attrNameLst>
                                          <p:attrName>style.visibility</p:attrName>
                                        </p:attrNameLst>
                                      </p:cBhvr>
                                      <p:to>
                                        <p:strVal val="hidden"/>
                                      </p:to>
                                    </p:set>
                                  </p:childTnLst>
                                </p:cTn>
                              </p:par>
                              <p:par>
                                <p:cTn id="75" presetID="10" presetClass="entr" presetSubtype="0" fill="hold" grpId="0" nodeType="withEffect">
                                  <p:stCondLst>
                                    <p:cond delay="0"/>
                                  </p:stCondLst>
                                  <p:childTnLst>
                                    <p:set>
                                      <p:cBhvr>
                                        <p:cTn id="76" dur="1" fill="hold">
                                          <p:stCondLst>
                                            <p:cond delay="0"/>
                                          </p:stCondLst>
                                        </p:cTn>
                                        <p:tgtEl>
                                          <p:spTgt spid="28"/>
                                        </p:tgtEl>
                                        <p:attrNameLst>
                                          <p:attrName>style.visibility</p:attrName>
                                        </p:attrNameLst>
                                      </p:cBhvr>
                                      <p:to>
                                        <p:strVal val="visible"/>
                                      </p:to>
                                    </p:set>
                                    <p:animEffect transition="in" filter="fade">
                                      <p:cBhvr>
                                        <p:cTn id="7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868" grpId="0"/>
      <p:bldP spid="868" grpId="1"/>
      <p:bldP spid="2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347" y="378264"/>
            <a:ext cx="10562011" cy="6188223"/>
          </a:xfrm>
          <a:prstGeom prst="rect">
            <a:avLst/>
          </a:prstGeom>
        </p:spPr>
      </p:pic>
      <p:sp>
        <p:nvSpPr>
          <p:cNvPr id="71" name="TextBox 70"/>
          <p:cNvSpPr txBox="1"/>
          <p:nvPr/>
        </p:nvSpPr>
        <p:spPr>
          <a:xfrm>
            <a:off x="207453" y="3503702"/>
            <a:ext cx="3203328" cy="1647426"/>
          </a:xfrm>
          <a:prstGeom prst="rect">
            <a:avLst/>
          </a:prstGeom>
          <a:noFill/>
        </p:spPr>
        <p:txBody>
          <a:bodyPr wrap="none" lIns="277892" tIns="277892" rIns="277892" bIns="27789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921" b="0" i="0" u="none" strike="noStrike" kern="1200" cap="none" spc="0" normalizeH="0" baseline="0" noProof="0" dirty="0">
                <a:ln>
                  <a:noFill/>
                </a:ln>
                <a:gradFill>
                  <a:gsLst>
                    <a:gs pos="2917">
                      <a:srgbClr val="ECECEC"/>
                    </a:gs>
                    <a:gs pos="30000">
                      <a:srgbClr val="ECECEC"/>
                    </a:gs>
                  </a:gsLst>
                  <a:lin ang="5400000" scaled="0"/>
                </a:gradFill>
                <a:effectLst/>
                <a:uLnTx/>
                <a:uFillTx/>
                <a:latin typeface="Malgun Gothic" panose="020B0503020000020004" pitchFamily="34" charset="-127"/>
                <a:ea typeface="Malgun Gothic" panose="020B0503020000020004" pitchFamily="34" charset="-127"/>
                <a:cs typeface="+mn-cs"/>
              </a:rPr>
              <a:t>Hyper-scale</a:t>
            </a:r>
            <a:br>
              <a:rPr kumimoji="0" lang="en-US" sz="3921" b="0" i="0" u="none" strike="noStrike" kern="1200" cap="none" spc="0" normalizeH="0" baseline="0" noProof="0" dirty="0">
                <a:ln>
                  <a:noFill/>
                </a:ln>
                <a:gradFill>
                  <a:gsLst>
                    <a:gs pos="2917">
                      <a:srgbClr val="ECECEC"/>
                    </a:gs>
                    <a:gs pos="30000">
                      <a:srgbClr val="ECECEC"/>
                    </a:gs>
                  </a:gsLst>
                  <a:lin ang="5400000" scaled="0"/>
                </a:gradFill>
                <a:effectLst/>
                <a:uLnTx/>
                <a:uFillTx/>
                <a:latin typeface="Malgun Gothic" panose="020B0503020000020004" pitchFamily="34" charset="-127"/>
                <a:ea typeface="Malgun Gothic" panose="020B0503020000020004" pitchFamily="34" charset="-127"/>
                <a:cs typeface="+mn-cs"/>
              </a:rPr>
            </a:br>
            <a:r>
              <a:rPr kumimoji="0" lang="en-US" sz="3921" b="0" i="0" u="none" strike="noStrike" kern="1200" cap="none" spc="0" normalizeH="0" baseline="0" noProof="0" dirty="0">
                <a:ln>
                  <a:noFill/>
                </a:ln>
                <a:gradFill>
                  <a:gsLst>
                    <a:gs pos="2917">
                      <a:srgbClr val="ECECEC"/>
                    </a:gs>
                    <a:gs pos="30000">
                      <a:srgbClr val="ECECEC"/>
                    </a:gs>
                  </a:gsLst>
                  <a:lin ang="5400000" scaled="0"/>
                </a:gradFill>
                <a:effectLst/>
                <a:uLnTx/>
                <a:uFillTx/>
                <a:latin typeface="Malgun Gothic" panose="020B0503020000020004" pitchFamily="34" charset="-127"/>
                <a:ea typeface="Malgun Gothic" panose="020B0503020000020004" pitchFamily="34" charset="-127"/>
                <a:cs typeface="+mn-cs"/>
              </a:rPr>
              <a:t>footprint</a:t>
            </a:r>
          </a:p>
        </p:txBody>
      </p:sp>
      <p:grpSp>
        <p:nvGrpSpPr>
          <p:cNvPr id="72" name="Group 71"/>
          <p:cNvGrpSpPr/>
          <p:nvPr/>
        </p:nvGrpSpPr>
        <p:grpSpPr>
          <a:xfrm>
            <a:off x="498820" y="4916621"/>
            <a:ext cx="1872968" cy="479745"/>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all" spc="0" normalizeH="0" baseline="0" noProof="0" dirty="0">
                  <a:ln>
                    <a:noFill/>
                  </a:ln>
                  <a:solidFill>
                    <a:srgbClr val="FFFFFF">
                      <a:lumMod val="85000"/>
                    </a:srgbClr>
                  </a:solidFill>
                  <a:effectLst/>
                  <a:uLnTx/>
                  <a:uFillTx/>
                  <a:latin typeface="Malgun Gothic" panose="020B0503020000020004" pitchFamily="34" charset="-127"/>
                  <a:ea typeface="Malgun Gothic" panose="020B0503020000020004" pitchFamily="34" charset="-127"/>
                  <a:cs typeface="Segoe UI Semibold" panose="020B0702040204020203" pitchFamily="34" charset="0"/>
                </a:rPr>
                <a:t>Azure regions</a:t>
              </a:r>
            </a:p>
          </p:txBody>
        </p:sp>
      </p:grpSp>
      <p:grpSp>
        <p:nvGrpSpPr>
          <p:cNvPr id="39" name="Group 38"/>
          <p:cNvGrpSpPr/>
          <p:nvPr/>
        </p:nvGrpSpPr>
        <p:grpSpPr>
          <a:xfrm>
            <a:off x="89679" y="1232834"/>
            <a:ext cx="3359726" cy="2826034"/>
            <a:chOff x="-2087057" y="3086116"/>
            <a:chExt cx="4108356" cy="2882702"/>
          </a:xfrm>
        </p:grpSpPr>
        <p:sp>
          <p:nvSpPr>
            <p:cNvPr id="40" name="TextBox 39"/>
            <p:cNvSpPr txBox="1"/>
            <p:nvPr/>
          </p:nvSpPr>
          <p:spPr>
            <a:xfrm>
              <a:off x="-2087057" y="3086116"/>
              <a:ext cx="2634693" cy="2165097"/>
            </a:xfrm>
            <a:prstGeom prst="rect">
              <a:avLst/>
            </a:prstGeom>
            <a:noFill/>
          </p:spPr>
          <p:txBody>
            <a:bodyPr wrap="non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273"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mn-cs"/>
                </a:rPr>
                <a:t>30</a:t>
              </a:r>
              <a:endParaRPr kumimoji="0" lang="en-US" sz="11273"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mn-cs"/>
              </a:endParaRPr>
            </a:p>
          </p:txBody>
        </p:sp>
        <p:sp>
          <p:nvSpPr>
            <p:cNvPr id="43" name="TextBox 42"/>
            <p:cNvSpPr txBox="1"/>
            <p:nvPr/>
          </p:nvSpPr>
          <p:spPr>
            <a:xfrm>
              <a:off x="-2006254" y="4543813"/>
              <a:ext cx="4027553" cy="1425005"/>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ko-KR" alt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light" panose="020B0402040204020203" pitchFamily="34" charset="0"/>
                </a:rPr>
                <a:t>개의 데이터 </a:t>
              </a:r>
              <a:endParaRPr kumimoji="0" lang="en-US" altLang="ko-KR"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light" panose="020B0402040204020203" pitchFamily="34" charset="0"/>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ko-KR" alt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light" panose="020B0402040204020203" pitchFamily="34" charset="0"/>
                </a:rPr>
                <a:t>센터의 운영</a:t>
              </a:r>
              <a:endPar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light" panose="020B0402040204020203" pitchFamily="34" charset="0"/>
              </a:endParaRPr>
            </a:p>
          </p:txBody>
        </p:sp>
      </p:grpSp>
      <p:cxnSp>
        <p:nvCxnSpPr>
          <p:cNvPr id="44" name="Straight Connector 43"/>
          <p:cNvCxnSpPr/>
          <p:nvPr/>
        </p:nvCxnSpPr>
        <p:spPr>
          <a:xfrm>
            <a:off x="512338" y="4647929"/>
            <a:ext cx="2857354"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338" y="5531281"/>
            <a:ext cx="2857354"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94192" y="4507325"/>
            <a:ext cx="3293647" cy="1294405"/>
          </a:xfrm>
          <a:prstGeom prst="rect">
            <a:avLst/>
          </a:prstGeom>
          <a:noFill/>
          <a:ln>
            <a:noFill/>
          </a:ln>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bold" panose="020B0702040204020203" pitchFamily="34" charset="0"/>
              </a:rPr>
              <a:t>AWS</a:t>
            </a:r>
            <a:r>
              <a:rPr kumimoji="0" lang="ko-KR" alt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bold" panose="020B0702040204020203" pitchFamily="34" charset="0"/>
              </a:rPr>
              <a:t>와 </a:t>
            </a: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bold" panose="020B0702040204020203" pitchFamily="34" charset="0"/>
              </a:rPr>
              <a:t>Google </a:t>
            </a:r>
            <a:r>
              <a:rPr kumimoji="0" lang="ko-KR" alt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bold" panose="020B0702040204020203" pitchFamily="34" charset="0"/>
              </a:rPr>
              <a:t>의 데이터 센터의 합한 숫자보다 많음</a:t>
            </a: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bold" panose="020B0702040204020203" pitchFamily="34" charset="0"/>
              </a:rPr>
              <a:t/>
            </a:r>
            <a:b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bold" panose="020B0702040204020203" pitchFamily="34" charset="0"/>
              </a:rPr>
            </a:b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Semibold" panose="020B0702040204020203" pitchFamily="34" charset="0"/>
            </a:endParaRPr>
          </a:p>
        </p:txBody>
      </p:sp>
      <p:sp>
        <p:nvSpPr>
          <p:cNvPr id="3" name="Isosceles Triangle 2"/>
          <p:cNvSpPr/>
          <p:nvPr/>
        </p:nvSpPr>
        <p:spPr bwMode="auto">
          <a:xfrm>
            <a:off x="8482271" y="4129002"/>
            <a:ext cx="406232" cy="259884"/>
          </a:xfrm>
          <a:prstGeom prst="triangle">
            <a:avLst/>
          </a:prstGeom>
          <a:solidFill>
            <a:schemeClr val="bg2"/>
          </a:solidFill>
        </p:spPr>
        <p:txBody>
          <a:bodyPr wrap="none" lIns="277892" tIns="277892" rIns="277892" bIns="277892" rtlCol="0" anchor="ctr" anchorCtr="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4313" b="0" i="0" u="none" strike="noStrike" kern="0" cap="none" spc="0" normalizeH="0" baseline="0" noProof="0" dirty="0" err="1">
              <a:ln>
                <a:noFill/>
              </a:ln>
              <a:gradFill>
                <a:gsLst>
                  <a:gs pos="2917">
                    <a:srgbClr val="ECECEC"/>
                  </a:gs>
                  <a:gs pos="30000">
                    <a:srgbClr val="ECECEC"/>
                  </a:gs>
                </a:gsLst>
                <a:lin ang="5400000" scaled="0"/>
              </a:gradFill>
              <a:effectLst/>
              <a:uLnTx/>
              <a:uFillTx/>
              <a:latin typeface="Malgun Gothic" panose="020B0503020000020004" pitchFamily="34" charset="-127"/>
              <a:ea typeface="Malgun Gothic" panose="020B0503020000020004" pitchFamily="34" charset="-127"/>
              <a:cs typeface="+mn-cs"/>
            </a:endParaRPr>
          </a:p>
        </p:txBody>
      </p:sp>
      <p:sp>
        <p:nvSpPr>
          <p:cNvPr id="64" name="Oval 63"/>
          <p:cNvSpPr/>
          <p:nvPr/>
        </p:nvSpPr>
        <p:spPr bwMode="auto">
          <a:xfrm>
            <a:off x="9217690" y="418189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5" name="Oval 64"/>
          <p:cNvSpPr/>
          <p:nvPr/>
        </p:nvSpPr>
        <p:spPr bwMode="auto">
          <a:xfrm>
            <a:off x="9507163" y="2797729"/>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6" name="Oval 65"/>
          <p:cNvSpPr/>
          <p:nvPr/>
        </p:nvSpPr>
        <p:spPr bwMode="auto">
          <a:xfrm>
            <a:off x="9577530" y="226254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7" name="Oval 66"/>
          <p:cNvSpPr/>
          <p:nvPr/>
        </p:nvSpPr>
        <p:spPr bwMode="auto">
          <a:xfrm>
            <a:off x="8446449" y="314383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8" name="Oval 67"/>
          <p:cNvSpPr/>
          <p:nvPr/>
        </p:nvSpPr>
        <p:spPr bwMode="auto">
          <a:xfrm>
            <a:off x="8749230" y="330361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9" name="Oval 68"/>
          <p:cNvSpPr/>
          <p:nvPr/>
        </p:nvSpPr>
        <p:spPr bwMode="auto">
          <a:xfrm>
            <a:off x="6245404" y="2065310"/>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5" name="Oval 74"/>
          <p:cNvSpPr/>
          <p:nvPr/>
        </p:nvSpPr>
        <p:spPr bwMode="auto">
          <a:xfrm>
            <a:off x="5938667" y="204030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6" name="Oval 75"/>
          <p:cNvSpPr/>
          <p:nvPr/>
        </p:nvSpPr>
        <p:spPr bwMode="auto">
          <a:xfrm>
            <a:off x="4900767" y="459997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7" name="Oval 76"/>
          <p:cNvSpPr/>
          <p:nvPr/>
        </p:nvSpPr>
        <p:spPr bwMode="auto">
          <a:xfrm>
            <a:off x="3463038" y="252731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8" name="Oval 77"/>
          <p:cNvSpPr/>
          <p:nvPr/>
        </p:nvSpPr>
        <p:spPr bwMode="auto">
          <a:xfrm>
            <a:off x="3236474" y="255795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9" name="Oval 78"/>
          <p:cNvSpPr/>
          <p:nvPr/>
        </p:nvSpPr>
        <p:spPr bwMode="auto">
          <a:xfrm>
            <a:off x="3329071" y="2219920"/>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80" name="Oval 79"/>
          <p:cNvSpPr/>
          <p:nvPr/>
        </p:nvSpPr>
        <p:spPr bwMode="auto">
          <a:xfrm>
            <a:off x="2999024" y="2141829"/>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81" name="Oval 80"/>
          <p:cNvSpPr/>
          <p:nvPr/>
        </p:nvSpPr>
        <p:spPr bwMode="auto">
          <a:xfrm>
            <a:off x="3789520" y="219169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82" name="Oval 81"/>
          <p:cNvSpPr/>
          <p:nvPr/>
        </p:nvSpPr>
        <p:spPr bwMode="auto">
          <a:xfrm>
            <a:off x="2995256" y="2837656"/>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83" name="Oval 82"/>
          <p:cNvSpPr/>
          <p:nvPr/>
        </p:nvSpPr>
        <p:spPr bwMode="auto">
          <a:xfrm>
            <a:off x="2404303" y="254737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84" name="Oval 83"/>
          <p:cNvSpPr/>
          <p:nvPr/>
        </p:nvSpPr>
        <p:spPr bwMode="auto">
          <a:xfrm>
            <a:off x="10394024" y="2343077"/>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85" name="Oval 84"/>
          <p:cNvSpPr/>
          <p:nvPr/>
        </p:nvSpPr>
        <p:spPr bwMode="auto">
          <a:xfrm>
            <a:off x="10141400" y="2724432"/>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86" name="Oval 85"/>
          <p:cNvSpPr/>
          <p:nvPr/>
        </p:nvSpPr>
        <p:spPr bwMode="auto">
          <a:xfrm>
            <a:off x="10583549" y="5163178"/>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87" name="Oval 86"/>
          <p:cNvSpPr/>
          <p:nvPr/>
        </p:nvSpPr>
        <p:spPr bwMode="auto">
          <a:xfrm>
            <a:off x="10322162" y="544637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88" name="Oval 87"/>
          <p:cNvSpPr/>
          <p:nvPr/>
        </p:nvSpPr>
        <p:spPr bwMode="auto">
          <a:xfrm>
            <a:off x="9355773" y="312047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89" name="Oval 88"/>
          <p:cNvSpPr/>
          <p:nvPr/>
        </p:nvSpPr>
        <p:spPr bwMode="auto">
          <a:xfrm>
            <a:off x="2971755" y="2451427"/>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90" name="Oval 89"/>
          <p:cNvSpPr/>
          <p:nvPr/>
        </p:nvSpPr>
        <p:spPr bwMode="auto">
          <a:xfrm>
            <a:off x="8535103" y="364189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94" name="Oval 93"/>
          <p:cNvSpPr/>
          <p:nvPr/>
        </p:nvSpPr>
        <p:spPr bwMode="auto">
          <a:xfrm>
            <a:off x="3553592" y="266173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95" name="Oval 94"/>
          <p:cNvSpPr/>
          <p:nvPr/>
        </p:nvSpPr>
        <p:spPr bwMode="auto">
          <a:xfrm>
            <a:off x="3651363" y="2482117"/>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0" name="TextBox 59"/>
          <p:cNvSpPr txBox="1"/>
          <p:nvPr/>
        </p:nvSpPr>
        <p:spPr>
          <a:xfrm>
            <a:off x="1" y="4887771"/>
            <a:ext cx="12192000" cy="1977197"/>
          </a:xfrm>
          <a:prstGeom prst="rect">
            <a:avLst/>
          </a:prstGeom>
          <a:solidFill>
            <a:schemeClr val="bg2"/>
          </a:solidFill>
        </p:spPr>
        <p:txBody>
          <a:bodyPr wrap="none" lIns="277892" tIns="277892" rIns="277892" bIns="277892" rtlCol="0" anchor="ctr" anchorCtr="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ko-KR" altLang="en-US" sz="4313"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mn-cs"/>
              </a:rPr>
              <a:t>인도</a:t>
            </a:r>
            <a:r>
              <a:rPr kumimoji="0" lang="en-US" sz="4313"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mn-cs"/>
              </a:rPr>
              <a:t> – Central, South, West</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Semibold" panose="020B0702040204020203" pitchFamily="34" charset="0"/>
              </a:rPr>
              <a:t>Azure </a:t>
            </a:r>
            <a:r>
              <a:rPr kumimoji="0" lang="ko-KR" altLang="en-US" sz="3137" b="0" i="0" u="none" strike="noStrike" kern="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Semibold" panose="020B0702040204020203" pitchFamily="34" charset="0"/>
              </a:rPr>
              <a:t>서비스 가능 지역 추가</a:t>
            </a:r>
            <a:endParaRPr kumimoji="0" lang="en-US" sz="3137"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Semibold" panose="020B0702040204020203" pitchFamily="34" charset="0"/>
            </a:endParaRPr>
          </a:p>
        </p:txBody>
      </p:sp>
    </p:spTree>
    <p:extLst>
      <p:ext uri="{BB962C8B-B14F-4D97-AF65-F5344CB8AC3E}">
        <p14:creationId xmlns:p14="http://schemas.microsoft.com/office/powerpoint/2010/main" val="125689073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par>
                          <p:cTn id="120" fill="hold">
                            <p:stCondLst>
                              <p:cond delay="500"/>
                            </p:stCondLst>
                            <p:childTnLst>
                              <p:par>
                                <p:cTn id="121" presetID="2" presetClass="entr" presetSubtype="4" decel="100000" fill="hold" grpId="0" nodeType="afterEffect">
                                  <p:stCondLst>
                                    <p:cond delay="0"/>
                                  </p:stCondLst>
                                  <p:childTnLst>
                                    <p:set>
                                      <p:cBhvr>
                                        <p:cTn id="122" dur="1" fill="hold">
                                          <p:stCondLst>
                                            <p:cond delay="0"/>
                                          </p:stCondLst>
                                        </p:cTn>
                                        <p:tgtEl>
                                          <p:spTgt spid="60"/>
                                        </p:tgtEl>
                                        <p:attrNameLst>
                                          <p:attrName>style.visibility</p:attrName>
                                        </p:attrNameLst>
                                      </p:cBhvr>
                                      <p:to>
                                        <p:strVal val="visible"/>
                                      </p:to>
                                    </p:set>
                                    <p:anim calcmode="lin" valueType="num">
                                      <p:cBhvr additive="base">
                                        <p:cTn id="123" dur="500" fill="hold"/>
                                        <p:tgtEl>
                                          <p:spTgt spid="60"/>
                                        </p:tgtEl>
                                        <p:attrNameLst>
                                          <p:attrName>ppt_x</p:attrName>
                                        </p:attrNameLst>
                                      </p:cBhvr>
                                      <p:tavLst>
                                        <p:tav tm="0">
                                          <p:val>
                                            <p:strVal val="#ppt_x"/>
                                          </p:val>
                                        </p:tav>
                                        <p:tav tm="100000">
                                          <p:val>
                                            <p:strVal val="#ppt_x"/>
                                          </p:val>
                                        </p:tav>
                                      </p:tavLst>
                                    </p:anim>
                                    <p:anim calcmode="lin" valueType="num">
                                      <p:cBhvr additive="base">
                                        <p:cTn id="124" dur="500" fill="hold"/>
                                        <p:tgtEl>
                                          <p:spTgt spid="60"/>
                                        </p:tgtEl>
                                        <p:attrNameLst>
                                          <p:attrName>ppt_y</p:attrName>
                                        </p:attrNameLst>
                                      </p:cBhvr>
                                      <p:tavLst>
                                        <p:tav tm="0">
                                          <p:val>
                                            <p:strVal val="1+#ppt_h/2"/>
                                          </p:val>
                                        </p:tav>
                                        <p:tav tm="100000">
                                          <p:val>
                                            <p:strVal val="#ppt_y"/>
                                          </p:val>
                                        </p:tav>
                                      </p:tavLst>
                                    </p:anim>
                                  </p:childTnLst>
                                </p:cTn>
                              </p:par>
                            </p:childTnLst>
                          </p:cTn>
                        </p:par>
                        <p:par>
                          <p:cTn id="125" fill="hold">
                            <p:stCondLst>
                              <p:cond delay="1000"/>
                            </p:stCondLst>
                            <p:childTnLst>
                              <p:par>
                                <p:cTn id="126" presetID="12" presetClass="entr" presetSubtype="4" fill="hold" grpId="0" nodeType="afterEffect">
                                  <p:stCondLst>
                                    <p:cond delay="0"/>
                                  </p:stCondLst>
                                  <p:childTnLst>
                                    <p:set>
                                      <p:cBhvr>
                                        <p:cTn id="127" dur="1" fill="hold">
                                          <p:stCondLst>
                                            <p:cond delay="0"/>
                                          </p:stCondLst>
                                        </p:cTn>
                                        <p:tgtEl>
                                          <p:spTgt spid="3"/>
                                        </p:tgtEl>
                                        <p:attrNameLst>
                                          <p:attrName>style.visibility</p:attrName>
                                        </p:attrNameLst>
                                      </p:cBhvr>
                                      <p:to>
                                        <p:strVal val="visible"/>
                                      </p:to>
                                    </p:set>
                                    <p:anim calcmode="lin" valueType="num">
                                      <p:cBhvr additive="base">
                                        <p:cTn id="128" dur="500"/>
                                        <p:tgtEl>
                                          <p:spTgt spid="3"/>
                                        </p:tgtEl>
                                        <p:attrNameLst>
                                          <p:attrName>ppt_y</p:attrName>
                                        </p:attrNameLst>
                                      </p:cBhvr>
                                      <p:tavLst>
                                        <p:tav tm="0">
                                          <p:val>
                                            <p:strVal val="#ppt_y+#ppt_h*1.125000"/>
                                          </p:val>
                                        </p:tav>
                                        <p:tav tm="100000">
                                          <p:val>
                                            <p:strVal val="#ppt_y"/>
                                          </p:val>
                                        </p:tav>
                                      </p:tavLst>
                                    </p:anim>
                                    <p:animEffect transition="in" filter="wipe(up)">
                                      <p:cBhvr>
                                        <p:cTn id="129" dur="500"/>
                                        <p:tgtEl>
                                          <p:spTgt spid="3"/>
                                        </p:tgtEl>
                                      </p:cBhvr>
                                    </p:animEffect>
                                  </p:childTnLst>
                                </p:cTn>
                              </p:par>
                            </p:childTnLst>
                          </p:cTn>
                        </p:par>
                        <p:par>
                          <p:cTn id="130" fill="hold">
                            <p:stCondLst>
                              <p:cond delay="1500"/>
                            </p:stCondLst>
                            <p:childTnLst>
                              <p:par>
                                <p:cTn id="131" presetID="19" presetClass="emph" presetSubtype="0" fill="hold" grpId="1" nodeType="afterEffect">
                                  <p:stCondLst>
                                    <p:cond delay="0"/>
                                  </p:stCondLst>
                                  <p:childTnLst>
                                    <p:animClr clrSpc="rgb" dir="cw">
                                      <p:cBhvr override="childStyle">
                                        <p:cTn id="132" dur="2000" fill="hold"/>
                                        <p:tgtEl>
                                          <p:spTgt spid="67"/>
                                        </p:tgtEl>
                                        <p:attrNameLst>
                                          <p:attrName>style.color</p:attrName>
                                        </p:attrNameLst>
                                      </p:cBhvr>
                                      <p:to>
                                        <a:srgbClr val="92D050"/>
                                      </p:to>
                                    </p:animClr>
                                    <p:animClr clrSpc="rgb" dir="cw">
                                      <p:cBhvr>
                                        <p:cTn id="133" dur="2000" fill="hold"/>
                                        <p:tgtEl>
                                          <p:spTgt spid="67"/>
                                        </p:tgtEl>
                                        <p:attrNameLst>
                                          <p:attrName>fillcolor</p:attrName>
                                        </p:attrNameLst>
                                      </p:cBhvr>
                                      <p:to>
                                        <a:srgbClr val="92D050"/>
                                      </p:to>
                                    </p:animClr>
                                    <p:set>
                                      <p:cBhvr>
                                        <p:cTn id="134" dur="2000" fill="hold"/>
                                        <p:tgtEl>
                                          <p:spTgt spid="67"/>
                                        </p:tgtEl>
                                        <p:attrNameLst>
                                          <p:attrName>fill.type</p:attrName>
                                        </p:attrNameLst>
                                      </p:cBhvr>
                                      <p:to>
                                        <p:strVal val="solid"/>
                                      </p:to>
                                    </p:set>
                                    <p:set>
                                      <p:cBhvr>
                                        <p:cTn id="135" dur="2000" fill="hold"/>
                                        <p:tgtEl>
                                          <p:spTgt spid="67"/>
                                        </p:tgtEl>
                                        <p:attrNameLst>
                                          <p:attrName>fill.on</p:attrName>
                                        </p:attrNameLst>
                                      </p:cBhvr>
                                      <p:to>
                                        <p:strVal val="true"/>
                                      </p:to>
                                    </p:set>
                                  </p:childTnLst>
                                </p:cTn>
                              </p:par>
                              <p:par>
                                <p:cTn id="136" presetID="19" presetClass="emph" presetSubtype="0" fill="hold" grpId="1" nodeType="withEffect">
                                  <p:stCondLst>
                                    <p:cond delay="0"/>
                                  </p:stCondLst>
                                  <p:childTnLst>
                                    <p:animClr clrSpc="rgb" dir="cw">
                                      <p:cBhvr override="childStyle">
                                        <p:cTn id="137" dur="2000" fill="hold"/>
                                        <p:tgtEl>
                                          <p:spTgt spid="68"/>
                                        </p:tgtEl>
                                        <p:attrNameLst>
                                          <p:attrName>style.color</p:attrName>
                                        </p:attrNameLst>
                                      </p:cBhvr>
                                      <p:to>
                                        <a:srgbClr val="92D050"/>
                                      </p:to>
                                    </p:animClr>
                                    <p:animClr clrSpc="rgb" dir="cw">
                                      <p:cBhvr>
                                        <p:cTn id="138" dur="2000" fill="hold"/>
                                        <p:tgtEl>
                                          <p:spTgt spid="68"/>
                                        </p:tgtEl>
                                        <p:attrNameLst>
                                          <p:attrName>fillcolor</p:attrName>
                                        </p:attrNameLst>
                                      </p:cBhvr>
                                      <p:to>
                                        <a:srgbClr val="92D050"/>
                                      </p:to>
                                    </p:animClr>
                                    <p:set>
                                      <p:cBhvr>
                                        <p:cTn id="139" dur="2000" fill="hold"/>
                                        <p:tgtEl>
                                          <p:spTgt spid="68"/>
                                        </p:tgtEl>
                                        <p:attrNameLst>
                                          <p:attrName>fill.type</p:attrName>
                                        </p:attrNameLst>
                                      </p:cBhvr>
                                      <p:to>
                                        <p:strVal val="solid"/>
                                      </p:to>
                                    </p:set>
                                    <p:set>
                                      <p:cBhvr>
                                        <p:cTn id="140" dur="2000" fill="hold"/>
                                        <p:tgtEl>
                                          <p:spTgt spid="68"/>
                                        </p:tgtEl>
                                        <p:attrNameLst>
                                          <p:attrName>fill.on</p:attrName>
                                        </p:attrNameLst>
                                      </p:cBhvr>
                                      <p:to>
                                        <p:strVal val="true"/>
                                      </p:to>
                                    </p:set>
                                  </p:childTnLst>
                                </p:cTn>
                              </p:par>
                              <p:par>
                                <p:cTn id="141" presetID="19" presetClass="emph" presetSubtype="0" fill="hold" grpId="1" nodeType="withEffect">
                                  <p:stCondLst>
                                    <p:cond delay="0"/>
                                  </p:stCondLst>
                                  <p:childTnLst>
                                    <p:animClr clrSpc="rgb" dir="cw">
                                      <p:cBhvr override="childStyle">
                                        <p:cTn id="142" dur="2000" fill="hold"/>
                                        <p:tgtEl>
                                          <p:spTgt spid="90"/>
                                        </p:tgtEl>
                                        <p:attrNameLst>
                                          <p:attrName>style.color</p:attrName>
                                        </p:attrNameLst>
                                      </p:cBhvr>
                                      <p:to>
                                        <a:srgbClr val="92D050"/>
                                      </p:to>
                                    </p:animClr>
                                    <p:animClr clrSpc="rgb" dir="cw">
                                      <p:cBhvr>
                                        <p:cTn id="143" dur="2000" fill="hold"/>
                                        <p:tgtEl>
                                          <p:spTgt spid="90"/>
                                        </p:tgtEl>
                                        <p:attrNameLst>
                                          <p:attrName>fillcolor</p:attrName>
                                        </p:attrNameLst>
                                      </p:cBhvr>
                                      <p:to>
                                        <a:srgbClr val="92D050"/>
                                      </p:to>
                                    </p:animClr>
                                    <p:set>
                                      <p:cBhvr>
                                        <p:cTn id="144" dur="2000" fill="hold"/>
                                        <p:tgtEl>
                                          <p:spTgt spid="90"/>
                                        </p:tgtEl>
                                        <p:attrNameLst>
                                          <p:attrName>fill.type</p:attrName>
                                        </p:attrNameLst>
                                      </p:cBhvr>
                                      <p:to>
                                        <p:strVal val="solid"/>
                                      </p:to>
                                    </p:set>
                                    <p:set>
                                      <p:cBhvr>
                                        <p:cTn id="145" dur="2000" fill="hold"/>
                                        <p:tgtEl>
                                          <p:spTgt spid="90"/>
                                        </p:tgtEl>
                                        <p:attrNameLst>
                                          <p:attrName>fill.on</p:attrName>
                                        </p:attrNameLst>
                                      </p:cBhvr>
                                      <p:to>
                                        <p:strVal val="true"/>
                                      </p:to>
                                    </p:set>
                                  </p:childTnLst>
                                </p:cTn>
                              </p:par>
                              <p:par>
                                <p:cTn id="146" presetID="7" presetClass="emph" presetSubtype="2" fill="hold" nodeType="withEffect">
                                  <p:stCondLst>
                                    <p:cond delay="0"/>
                                  </p:stCondLst>
                                  <p:childTnLst>
                                    <p:animClr clrSpc="rgb" dir="cw">
                                      <p:cBhvr>
                                        <p:cTn id="147" dur="2000" fill="hold"/>
                                        <p:tgtEl>
                                          <p:spTgt spid="67"/>
                                        </p:tgtEl>
                                        <p:attrNameLst>
                                          <p:attrName>stroke.color</p:attrName>
                                        </p:attrNameLst>
                                      </p:cBhvr>
                                      <p:to>
                                        <a:srgbClr val="92D050"/>
                                      </p:to>
                                    </p:animClr>
                                    <p:set>
                                      <p:cBhvr>
                                        <p:cTn id="148" dur="2000" fill="hold"/>
                                        <p:tgtEl>
                                          <p:spTgt spid="67"/>
                                        </p:tgtEl>
                                        <p:attrNameLst>
                                          <p:attrName>stroke.on</p:attrName>
                                        </p:attrNameLst>
                                      </p:cBhvr>
                                      <p:to>
                                        <p:strVal val="true"/>
                                      </p:to>
                                    </p:set>
                                  </p:childTnLst>
                                </p:cTn>
                              </p:par>
                              <p:par>
                                <p:cTn id="149" presetID="7" presetClass="emph" presetSubtype="2" fill="hold" nodeType="withEffect">
                                  <p:stCondLst>
                                    <p:cond delay="0"/>
                                  </p:stCondLst>
                                  <p:childTnLst>
                                    <p:animClr clrSpc="rgb" dir="cw">
                                      <p:cBhvr>
                                        <p:cTn id="150" dur="2000" fill="hold"/>
                                        <p:tgtEl>
                                          <p:spTgt spid="68"/>
                                        </p:tgtEl>
                                        <p:attrNameLst>
                                          <p:attrName>stroke.color</p:attrName>
                                        </p:attrNameLst>
                                      </p:cBhvr>
                                      <p:to>
                                        <a:srgbClr val="92D050"/>
                                      </p:to>
                                    </p:animClr>
                                    <p:set>
                                      <p:cBhvr>
                                        <p:cTn id="151" dur="2000" fill="hold"/>
                                        <p:tgtEl>
                                          <p:spTgt spid="68"/>
                                        </p:tgtEl>
                                        <p:attrNameLst>
                                          <p:attrName>stroke.on</p:attrName>
                                        </p:attrNameLst>
                                      </p:cBhvr>
                                      <p:to>
                                        <p:strVal val="true"/>
                                      </p:to>
                                    </p:set>
                                  </p:childTnLst>
                                </p:cTn>
                              </p:par>
                              <p:par>
                                <p:cTn id="152" presetID="7" presetClass="emph" presetSubtype="2" fill="hold" nodeType="withEffect">
                                  <p:stCondLst>
                                    <p:cond delay="0"/>
                                  </p:stCondLst>
                                  <p:childTnLst>
                                    <p:animClr clrSpc="rgb" dir="cw">
                                      <p:cBhvr>
                                        <p:cTn id="153" dur="2000" fill="hold"/>
                                        <p:tgtEl>
                                          <p:spTgt spid="90"/>
                                        </p:tgtEl>
                                        <p:attrNameLst>
                                          <p:attrName>stroke.color</p:attrName>
                                        </p:attrNameLst>
                                      </p:cBhvr>
                                      <p:to>
                                        <a:srgbClr val="92D050"/>
                                      </p:to>
                                    </p:animClr>
                                    <p:set>
                                      <p:cBhvr>
                                        <p:cTn id="154" dur="2000" fill="hold"/>
                                        <p:tgtEl>
                                          <p:spTgt spid="90"/>
                                        </p:tgtEl>
                                        <p:attrNameLst>
                                          <p:attrName>stroke.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3" grpId="0" animBg="1"/>
      <p:bldP spid="64" grpId="0" animBg="1"/>
      <p:bldP spid="65" grpId="0" animBg="1"/>
      <p:bldP spid="66" grpId="0" animBg="1"/>
      <p:bldP spid="67" grpId="0" animBg="1"/>
      <p:bldP spid="67" grpId="1" animBg="1"/>
      <p:bldP spid="68" grpId="0" animBg="1"/>
      <p:bldP spid="68" grpId="1"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0" grpId="1" animBg="1"/>
      <p:bldP spid="94" grpId="0" animBg="1"/>
      <p:bldP spid="95" grpId="0" animBg="1"/>
      <p:bldP spid="6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1" name="Straight Connector 80"/>
          <p:cNvCxnSpPr/>
          <p:nvPr/>
        </p:nvCxnSpPr>
        <p:spPr>
          <a:xfrm>
            <a:off x="3088216" y="2474798"/>
            <a:ext cx="1" cy="25121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824186" y="2475452"/>
            <a:ext cx="1" cy="25121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270081" y="260242"/>
            <a:ext cx="8962976" cy="917269"/>
          </a:xfrm>
        </p:spPr>
        <p:txBody>
          <a:bodyPr/>
          <a:lstStyle/>
          <a:p>
            <a:r>
              <a:rPr lang="en-US" sz="4704" dirty="0" err="1" smtClean="0">
                <a:solidFill>
                  <a:schemeClr val="tx1"/>
                </a:solidFill>
              </a:rPr>
              <a:t>Micrososft</a:t>
            </a:r>
            <a:r>
              <a:rPr lang="en-US" sz="4704" dirty="0" smtClean="0">
                <a:solidFill>
                  <a:schemeClr val="tx1"/>
                </a:solidFill>
              </a:rPr>
              <a:t> Azure</a:t>
            </a:r>
            <a:endParaRPr lang="en-US" sz="4704" dirty="0">
              <a:solidFill>
                <a:schemeClr val="tx1"/>
              </a:solidFill>
            </a:endParaRPr>
          </a:p>
        </p:txBody>
      </p:sp>
      <p:sp>
        <p:nvSpPr>
          <p:cNvPr id="47" name="Rectangle 46"/>
          <p:cNvSpPr/>
          <p:nvPr/>
        </p:nvSpPr>
        <p:spPr bwMode="auto">
          <a:xfrm>
            <a:off x="2411034" y="1372188"/>
            <a:ext cx="7087569" cy="566509"/>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693" tIns="45626" rIns="182511" bIns="45626" numCol="1" rtlCol="0" anchor="ctr" anchorCtr="0" compatLnSpc="1">
            <a:prstTxWarp prst="textNoShape">
              <a:avLst/>
            </a:prstTxWarp>
          </a:bodyPr>
          <a:lstStyle/>
          <a:p>
            <a:pPr algn="ctr" defTabSz="912148" fontAlgn="base">
              <a:lnSpc>
                <a:spcPct val="90000"/>
              </a:lnSpc>
              <a:spcBef>
                <a:spcPct val="0"/>
              </a:spcBef>
              <a:spcAft>
                <a:spcPct val="0"/>
              </a:spcAft>
            </a:pPr>
            <a:r>
              <a:rPr lang="en-US" sz="1961" spc="-50" dirty="0">
                <a:gradFill>
                  <a:gsLst>
                    <a:gs pos="0">
                      <a:srgbClr val="EFEFEF"/>
                    </a:gs>
                    <a:gs pos="100000">
                      <a:srgbClr val="EFEFEF"/>
                    </a:gs>
                  </a:gsLst>
                  <a:lin ang="5400000" scaled="0"/>
                </a:gradFill>
              </a:rPr>
              <a:t>Management Portal</a:t>
            </a:r>
          </a:p>
        </p:txBody>
      </p:sp>
      <p:grpSp>
        <p:nvGrpSpPr>
          <p:cNvPr id="5" name="Group 4"/>
          <p:cNvGrpSpPr/>
          <p:nvPr/>
        </p:nvGrpSpPr>
        <p:grpSpPr>
          <a:xfrm>
            <a:off x="5263853" y="2724285"/>
            <a:ext cx="1344169" cy="3543394"/>
            <a:chOff x="392209" y="2765575"/>
            <a:chExt cx="1371316" cy="3614958"/>
          </a:xfrm>
        </p:grpSpPr>
        <p:sp>
          <p:nvSpPr>
            <p:cNvPr id="48" name="Rectangle 47"/>
            <p:cNvSpPr/>
            <p:nvPr/>
          </p:nvSpPr>
          <p:spPr bwMode="auto">
            <a:xfrm>
              <a:off x="392209" y="2765575"/>
              <a:ext cx="1371316" cy="200223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250" tIns="45626" rIns="182511" bIns="45626" numCol="1" rtlCol="0" anchor="t" anchorCtr="0" compatLnSpc="1">
              <a:prstTxWarp prst="textNoShape">
                <a:avLst/>
              </a:prstTxWarp>
            </a:bodyPr>
            <a:lstStyle/>
            <a:p>
              <a:pPr algn="ctr" defTabSz="912148" fontAlgn="base">
                <a:lnSpc>
                  <a:spcPct val="90000"/>
                </a:lnSpc>
                <a:spcBef>
                  <a:spcPct val="0"/>
                </a:spcBef>
                <a:spcAft>
                  <a:spcPct val="0"/>
                </a:spcAft>
              </a:pPr>
              <a:endParaRPr lang="en-US" sz="1567" spc="-50" dirty="0">
                <a:gradFill>
                  <a:gsLst>
                    <a:gs pos="0">
                      <a:srgbClr val="EFEFEF"/>
                    </a:gs>
                    <a:gs pos="100000">
                      <a:srgbClr val="EFEFEF"/>
                    </a:gs>
                  </a:gsLst>
                  <a:lin ang="5400000" scaled="0"/>
                </a:gradFill>
              </a:endParaRPr>
            </a:p>
            <a:p>
              <a:pPr algn="ctr" defTabSz="912148" fontAlgn="base">
                <a:lnSpc>
                  <a:spcPct val="90000"/>
                </a:lnSpc>
                <a:spcBef>
                  <a:spcPct val="0"/>
                </a:spcBef>
                <a:spcAft>
                  <a:spcPct val="0"/>
                </a:spcAft>
              </a:pPr>
              <a:r>
                <a:rPr lang="en-US" sz="1567" spc="-50" dirty="0">
                  <a:gradFill>
                    <a:gsLst>
                      <a:gs pos="0">
                        <a:srgbClr val="EFEFEF"/>
                      </a:gs>
                      <a:gs pos="100000">
                        <a:srgbClr val="EFEFEF"/>
                      </a:gs>
                    </a:gsLst>
                    <a:lin ang="5400000" scaled="0"/>
                  </a:gradFill>
                </a:rPr>
                <a:t>Web sites</a:t>
              </a:r>
            </a:p>
          </p:txBody>
        </p:sp>
        <p:sp>
          <p:nvSpPr>
            <p:cNvPr id="51" name="Rectangle 50"/>
            <p:cNvSpPr/>
            <p:nvPr/>
          </p:nvSpPr>
          <p:spPr bwMode="auto">
            <a:xfrm>
              <a:off x="392209" y="4574559"/>
              <a:ext cx="1371315" cy="1805974"/>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511" tIns="456270" rIns="182511" bIns="45626" numCol="1" rtlCol="0" anchor="t" anchorCtr="0" compatLnSpc="1">
              <a:prstTxWarp prst="textNoShape">
                <a:avLst/>
              </a:prstTxWarp>
            </a:bodyPr>
            <a:lstStyle/>
            <a:p>
              <a:pPr algn="ctr" defTabSz="912148" fontAlgn="base">
                <a:spcBef>
                  <a:spcPct val="0"/>
                </a:spcBef>
                <a:spcAft>
                  <a:spcPct val="0"/>
                </a:spcAft>
              </a:pPr>
              <a:r>
                <a:rPr lang="en-US" sz="1400" b="1" kern="0" spc="-50" dirty="0">
                  <a:solidFill>
                    <a:schemeClr val="bg1">
                      <a:lumMod val="10000"/>
                    </a:schemeClr>
                  </a:solidFill>
                  <a:ea typeface="Segoe UI" pitchFamily="34" charset="0"/>
                  <a:cs typeface="Segoe UI" pitchFamily="34" charset="0"/>
                </a:rPr>
                <a:t>Web Platform application Services (</a:t>
              </a:r>
              <a:r>
                <a:rPr lang="en-US" sz="1400" b="1" kern="0" spc="-50" dirty="0" err="1">
                  <a:solidFill>
                    <a:schemeClr val="bg1">
                      <a:lumMod val="10000"/>
                    </a:schemeClr>
                  </a:solidFill>
                  <a:ea typeface="Segoe UI" pitchFamily="34" charset="0"/>
                  <a:cs typeface="Segoe UI" pitchFamily="34" charset="0"/>
                </a:rPr>
                <a:t>PaaS</a:t>
              </a:r>
              <a:r>
                <a:rPr lang="en-US" sz="1400" b="1" kern="0" spc="-50" dirty="0">
                  <a:solidFill>
                    <a:schemeClr val="bg1">
                      <a:lumMod val="10000"/>
                    </a:schemeClr>
                  </a:solidFill>
                  <a:ea typeface="Segoe UI" pitchFamily="34" charset="0"/>
                  <a:cs typeface="Segoe UI" pitchFamily="34" charset="0"/>
                </a:rPr>
                <a:t>)</a:t>
              </a:r>
            </a:p>
          </p:txBody>
        </p:sp>
        <p:sp>
          <p:nvSpPr>
            <p:cNvPr id="55" name="Freeform 357"/>
            <p:cNvSpPr>
              <a:spLocks noChangeAspect="1" noEditPoints="1"/>
            </p:cNvSpPr>
            <p:nvPr/>
          </p:nvSpPr>
          <p:spPr bwMode="auto">
            <a:xfrm>
              <a:off x="648085" y="3499164"/>
              <a:ext cx="832681" cy="832693"/>
            </a:xfrm>
            <a:custGeom>
              <a:avLst/>
              <a:gdLst>
                <a:gd name="T0" fmla="*/ 200 w 400"/>
                <a:gd name="T1" fmla="*/ 400 h 400"/>
                <a:gd name="T2" fmla="*/ 200 w 400"/>
                <a:gd name="T3" fmla="*/ 0 h 400"/>
                <a:gd name="T4" fmla="*/ 96 w 400"/>
                <a:gd name="T5" fmla="*/ 190 h 400"/>
                <a:gd name="T6" fmla="*/ 43 w 400"/>
                <a:gd name="T7" fmla="*/ 111 h 400"/>
                <a:gd name="T8" fmla="*/ 96 w 400"/>
                <a:gd name="T9" fmla="*/ 190 h 400"/>
                <a:gd name="T10" fmla="*/ 131 w 400"/>
                <a:gd name="T11" fmla="*/ 111 h 400"/>
                <a:gd name="T12" fmla="*/ 190 w 400"/>
                <a:gd name="T13" fmla="*/ 190 h 400"/>
                <a:gd name="T14" fmla="*/ 190 w 400"/>
                <a:gd name="T15" fmla="*/ 20 h 400"/>
                <a:gd name="T16" fmla="*/ 190 w 400"/>
                <a:gd name="T17" fmla="*/ 91 h 400"/>
                <a:gd name="T18" fmla="*/ 56 w 400"/>
                <a:gd name="T19" fmla="*/ 91 h 400"/>
                <a:gd name="T20" fmla="*/ 158 w 400"/>
                <a:gd name="T21" fmla="*/ 24 h 400"/>
                <a:gd name="T22" fmla="*/ 380 w 400"/>
                <a:gd name="T23" fmla="*/ 190 h 400"/>
                <a:gd name="T24" fmla="*/ 290 w 400"/>
                <a:gd name="T25" fmla="*/ 111 h 400"/>
                <a:gd name="T26" fmla="*/ 380 w 400"/>
                <a:gd name="T27" fmla="*/ 190 h 400"/>
                <a:gd name="T28" fmla="*/ 284 w 400"/>
                <a:gd name="T29" fmla="*/ 190 h 400"/>
                <a:gd name="T30" fmla="*/ 210 w 400"/>
                <a:gd name="T31" fmla="*/ 111 h 400"/>
                <a:gd name="T32" fmla="*/ 210 w 400"/>
                <a:gd name="T33" fmla="*/ 91 h 400"/>
                <a:gd name="T34" fmla="*/ 210 w 400"/>
                <a:gd name="T35" fmla="*/ 20 h 400"/>
                <a:gd name="T36" fmla="*/ 242 w 400"/>
                <a:gd name="T37" fmla="*/ 24 h 400"/>
                <a:gd name="T38" fmla="*/ 344 w 400"/>
                <a:gd name="T39" fmla="*/ 91 h 400"/>
                <a:gd name="T40" fmla="*/ 20 w 400"/>
                <a:gd name="T41" fmla="*/ 210 h 400"/>
                <a:gd name="T42" fmla="*/ 110 w 400"/>
                <a:gd name="T43" fmla="*/ 289 h 400"/>
                <a:gd name="T44" fmla="*/ 20 w 400"/>
                <a:gd name="T45" fmla="*/ 210 h 400"/>
                <a:gd name="T46" fmla="*/ 116 w 400"/>
                <a:gd name="T47" fmla="*/ 210 h 400"/>
                <a:gd name="T48" fmla="*/ 190 w 400"/>
                <a:gd name="T49" fmla="*/ 289 h 400"/>
                <a:gd name="T50" fmla="*/ 190 w 400"/>
                <a:gd name="T51" fmla="*/ 309 h 400"/>
                <a:gd name="T52" fmla="*/ 190 w 400"/>
                <a:gd name="T53" fmla="*/ 380 h 400"/>
                <a:gd name="T54" fmla="*/ 158 w 400"/>
                <a:gd name="T55" fmla="*/ 376 h 400"/>
                <a:gd name="T56" fmla="*/ 56 w 400"/>
                <a:gd name="T57" fmla="*/ 309 h 400"/>
                <a:gd name="T58" fmla="*/ 304 w 400"/>
                <a:gd name="T59" fmla="*/ 210 h 400"/>
                <a:gd name="T60" fmla="*/ 357 w 400"/>
                <a:gd name="T61" fmla="*/ 289 h 400"/>
                <a:gd name="T62" fmla="*/ 304 w 400"/>
                <a:gd name="T63" fmla="*/ 210 h 400"/>
                <a:gd name="T64" fmla="*/ 269 w 400"/>
                <a:gd name="T65" fmla="*/ 289 h 400"/>
                <a:gd name="T66" fmla="*/ 210 w 400"/>
                <a:gd name="T67" fmla="*/ 210 h 400"/>
                <a:gd name="T68" fmla="*/ 210 w 400"/>
                <a:gd name="T69" fmla="*/ 380 h 400"/>
                <a:gd name="T70" fmla="*/ 210 w 400"/>
                <a:gd name="T71" fmla="*/ 309 h 400"/>
                <a:gd name="T72" fmla="*/ 344 w 400"/>
                <a:gd name="T73" fmla="*/ 309 h 400"/>
                <a:gd name="T74" fmla="*/ 242 w 400"/>
                <a:gd name="T75" fmla="*/ 37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400">
                  <a:moveTo>
                    <a:pt x="400" y="200"/>
                  </a:moveTo>
                  <a:cubicBezTo>
                    <a:pt x="400" y="310"/>
                    <a:pt x="310" y="400"/>
                    <a:pt x="200" y="400"/>
                  </a:cubicBezTo>
                  <a:cubicBezTo>
                    <a:pt x="90" y="400"/>
                    <a:pt x="0" y="310"/>
                    <a:pt x="0" y="200"/>
                  </a:cubicBezTo>
                  <a:cubicBezTo>
                    <a:pt x="0" y="90"/>
                    <a:pt x="90" y="0"/>
                    <a:pt x="200" y="0"/>
                  </a:cubicBezTo>
                  <a:cubicBezTo>
                    <a:pt x="310" y="0"/>
                    <a:pt x="400" y="90"/>
                    <a:pt x="400" y="200"/>
                  </a:cubicBezTo>
                  <a:close/>
                  <a:moveTo>
                    <a:pt x="96" y="190"/>
                  </a:moveTo>
                  <a:cubicBezTo>
                    <a:pt x="97" y="162"/>
                    <a:pt x="102" y="135"/>
                    <a:pt x="110" y="111"/>
                  </a:cubicBezTo>
                  <a:cubicBezTo>
                    <a:pt x="43" y="111"/>
                    <a:pt x="43" y="111"/>
                    <a:pt x="43" y="111"/>
                  </a:cubicBezTo>
                  <a:cubicBezTo>
                    <a:pt x="30" y="134"/>
                    <a:pt x="21" y="161"/>
                    <a:pt x="20" y="190"/>
                  </a:cubicBezTo>
                  <a:lnTo>
                    <a:pt x="96" y="190"/>
                  </a:lnTo>
                  <a:close/>
                  <a:moveTo>
                    <a:pt x="190" y="111"/>
                  </a:moveTo>
                  <a:cubicBezTo>
                    <a:pt x="131" y="111"/>
                    <a:pt x="131" y="111"/>
                    <a:pt x="131" y="111"/>
                  </a:cubicBezTo>
                  <a:cubicBezTo>
                    <a:pt x="122" y="135"/>
                    <a:pt x="117" y="162"/>
                    <a:pt x="116" y="190"/>
                  </a:cubicBezTo>
                  <a:cubicBezTo>
                    <a:pt x="190" y="190"/>
                    <a:pt x="190" y="190"/>
                    <a:pt x="190" y="190"/>
                  </a:cubicBezTo>
                  <a:cubicBezTo>
                    <a:pt x="190" y="111"/>
                    <a:pt x="190" y="111"/>
                    <a:pt x="190" y="111"/>
                  </a:cubicBezTo>
                  <a:close/>
                  <a:moveTo>
                    <a:pt x="190" y="20"/>
                  </a:moveTo>
                  <a:cubicBezTo>
                    <a:pt x="169" y="39"/>
                    <a:pt x="151" y="63"/>
                    <a:pt x="139" y="91"/>
                  </a:cubicBezTo>
                  <a:cubicBezTo>
                    <a:pt x="190" y="91"/>
                    <a:pt x="190" y="91"/>
                    <a:pt x="190" y="91"/>
                  </a:cubicBezTo>
                  <a:lnTo>
                    <a:pt x="190" y="20"/>
                  </a:lnTo>
                  <a:close/>
                  <a:moveTo>
                    <a:pt x="56" y="91"/>
                  </a:moveTo>
                  <a:cubicBezTo>
                    <a:pt x="117" y="91"/>
                    <a:pt x="117" y="91"/>
                    <a:pt x="117" y="91"/>
                  </a:cubicBezTo>
                  <a:cubicBezTo>
                    <a:pt x="128" y="66"/>
                    <a:pt x="142" y="43"/>
                    <a:pt x="158" y="24"/>
                  </a:cubicBezTo>
                  <a:cubicBezTo>
                    <a:pt x="116" y="34"/>
                    <a:pt x="80" y="59"/>
                    <a:pt x="56" y="91"/>
                  </a:cubicBezTo>
                  <a:close/>
                  <a:moveTo>
                    <a:pt x="380" y="190"/>
                  </a:moveTo>
                  <a:cubicBezTo>
                    <a:pt x="379" y="161"/>
                    <a:pt x="370" y="134"/>
                    <a:pt x="357" y="111"/>
                  </a:cubicBezTo>
                  <a:cubicBezTo>
                    <a:pt x="290" y="111"/>
                    <a:pt x="290" y="111"/>
                    <a:pt x="290" y="111"/>
                  </a:cubicBezTo>
                  <a:cubicBezTo>
                    <a:pt x="298" y="135"/>
                    <a:pt x="303" y="162"/>
                    <a:pt x="304" y="190"/>
                  </a:cubicBezTo>
                  <a:lnTo>
                    <a:pt x="380" y="190"/>
                  </a:lnTo>
                  <a:close/>
                  <a:moveTo>
                    <a:pt x="210" y="190"/>
                  </a:moveTo>
                  <a:cubicBezTo>
                    <a:pt x="284" y="190"/>
                    <a:pt x="284" y="190"/>
                    <a:pt x="284" y="190"/>
                  </a:cubicBezTo>
                  <a:cubicBezTo>
                    <a:pt x="283" y="162"/>
                    <a:pt x="278" y="135"/>
                    <a:pt x="269" y="111"/>
                  </a:cubicBezTo>
                  <a:cubicBezTo>
                    <a:pt x="210" y="111"/>
                    <a:pt x="210" y="111"/>
                    <a:pt x="210" y="111"/>
                  </a:cubicBezTo>
                  <a:lnTo>
                    <a:pt x="210" y="190"/>
                  </a:lnTo>
                  <a:close/>
                  <a:moveTo>
                    <a:pt x="210" y="91"/>
                  </a:moveTo>
                  <a:cubicBezTo>
                    <a:pt x="261" y="91"/>
                    <a:pt x="261" y="91"/>
                    <a:pt x="261" y="91"/>
                  </a:cubicBezTo>
                  <a:cubicBezTo>
                    <a:pt x="249" y="63"/>
                    <a:pt x="231" y="39"/>
                    <a:pt x="210" y="20"/>
                  </a:cubicBezTo>
                  <a:lnTo>
                    <a:pt x="210" y="91"/>
                  </a:lnTo>
                  <a:close/>
                  <a:moveTo>
                    <a:pt x="242" y="24"/>
                  </a:moveTo>
                  <a:cubicBezTo>
                    <a:pt x="258" y="43"/>
                    <a:pt x="272" y="66"/>
                    <a:pt x="283" y="91"/>
                  </a:cubicBezTo>
                  <a:cubicBezTo>
                    <a:pt x="344" y="91"/>
                    <a:pt x="344" y="91"/>
                    <a:pt x="344" y="91"/>
                  </a:cubicBezTo>
                  <a:cubicBezTo>
                    <a:pt x="320" y="59"/>
                    <a:pt x="284" y="34"/>
                    <a:pt x="242" y="24"/>
                  </a:cubicBezTo>
                  <a:close/>
                  <a:moveTo>
                    <a:pt x="20" y="210"/>
                  </a:moveTo>
                  <a:cubicBezTo>
                    <a:pt x="21" y="239"/>
                    <a:pt x="30" y="266"/>
                    <a:pt x="43" y="289"/>
                  </a:cubicBezTo>
                  <a:cubicBezTo>
                    <a:pt x="110" y="289"/>
                    <a:pt x="110" y="289"/>
                    <a:pt x="110" y="289"/>
                  </a:cubicBezTo>
                  <a:cubicBezTo>
                    <a:pt x="102" y="265"/>
                    <a:pt x="97" y="238"/>
                    <a:pt x="96" y="210"/>
                  </a:cubicBezTo>
                  <a:cubicBezTo>
                    <a:pt x="20" y="210"/>
                    <a:pt x="20" y="210"/>
                    <a:pt x="20" y="210"/>
                  </a:cubicBezTo>
                  <a:close/>
                  <a:moveTo>
                    <a:pt x="190" y="210"/>
                  </a:moveTo>
                  <a:cubicBezTo>
                    <a:pt x="116" y="210"/>
                    <a:pt x="116" y="210"/>
                    <a:pt x="116" y="210"/>
                  </a:cubicBezTo>
                  <a:cubicBezTo>
                    <a:pt x="117" y="238"/>
                    <a:pt x="122" y="265"/>
                    <a:pt x="131" y="289"/>
                  </a:cubicBezTo>
                  <a:cubicBezTo>
                    <a:pt x="190" y="289"/>
                    <a:pt x="190" y="289"/>
                    <a:pt x="190" y="289"/>
                  </a:cubicBezTo>
                  <a:lnTo>
                    <a:pt x="190" y="210"/>
                  </a:lnTo>
                  <a:close/>
                  <a:moveTo>
                    <a:pt x="190" y="309"/>
                  </a:moveTo>
                  <a:cubicBezTo>
                    <a:pt x="139" y="309"/>
                    <a:pt x="139" y="309"/>
                    <a:pt x="139" y="309"/>
                  </a:cubicBezTo>
                  <a:cubicBezTo>
                    <a:pt x="151" y="337"/>
                    <a:pt x="169" y="361"/>
                    <a:pt x="190" y="380"/>
                  </a:cubicBezTo>
                  <a:cubicBezTo>
                    <a:pt x="190" y="309"/>
                    <a:pt x="190" y="309"/>
                    <a:pt x="190" y="309"/>
                  </a:cubicBezTo>
                  <a:close/>
                  <a:moveTo>
                    <a:pt x="158" y="376"/>
                  </a:moveTo>
                  <a:cubicBezTo>
                    <a:pt x="142" y="357"/>
                    <a:pt x="128" y="334"/>
                    <a:pt x="117" y="309"/>
                  </a:cubicBezTo>
                  <a:cubicBezTo>
                    <a:pt x="56" y="309"/>
                    <a:pt x="56" y="309"/>
                    <a:pt x="56" y="309"/>
                  </a:cubicBezTo>
                  <a:cubicBezTo>
                    <a:pt x="80" y="341"/>
                    <a:pt x="116" y="366"/>
                    <a:pt x="158" y="376"/>
                  </a:cubicBezTo>
                  <a:close/>
                  <a:moveTo>
                    <a:pt x="304" y="210"/>
                  </a:moveTo>
                  <a:cubicBezTo>
                    <a:pt x="303" y="238"/>
                    <a:pt x="298" y="265"/>
                    <a:pt x="290" y="289"/>
                  </a:cubicBezTo>
                  <a:cubicBezTo>
                    <a:pt x="357" y="289"/>
                    <a:pt x="357" y="289"/>
                    <a:pt x="357" y="289"/>
                  </a:cubicBezTo>
                  <a:cubicBezTo>
                    <a:pt x="370" y="266"/>
                    <a:pt x="379" y="239"/>
                    <a:pt x="380" y="210"/>
                  </a:cubicBezTo>
                  <a:cubicBezTo>
                    <a:pt x="304" y="210"/>
                    <a:pt x="304" y="210"/>
                    <a:pt x="304" y="210"/>
                  </a:cubicBezTo>
                  <a:close/>
                  <a:moveTo>
                    <a:pt x="210" y="289"/>
                  </a:moveTo>
                  <a:cubicBezTo>
                    <a:pt x="269" y="289"/>
                    <a:pt x="269" y="289"/>
                    <a:pt x="269" y="289"/>
                  </a:cubicBezTo>
                  <a:cubicBezTo>
                    <a:pt x="278" y="265"/>
                    <a:pt x="283" y="238"/>
                    <a:pt x="284" y="210"/>
                  </a:cubicBezTo>
                  <a:cubicBezTo>
                    <a:pt x="210" y="210"/>
                    <a:pt x="210" y="210"/>
                    <a:pt x="210" y="210"/>
                  </a:cubicBezTo>
                  <a:lnTo>
                    <a:pt x="210" y="289"/>
                  </a:lnTo>
                  <a:close/>
                  <a:moveTo>
                    <a:pt x="210" y="380"/>
                  </a:moveTo>
                  <a:cubicBezTo>
                    <a:pt x="231" y="361"/>
                    <a:pt x="249" y="337"/>
                    <a:pt x="261" y="309"/>
                  </a:cubicBezTo>
                  <a:cubicBezTo>
                    <a:pt x="210" y="309"/>
                    <a:pt x="210" y="309"/>
                    <a:pt x="210" y="309"/>
                  </a:cubicBezTo>
                  <a:lnTo>
                    <a:pt x="210" y="380"/>
                  </a:lnTo>
                  <a:close/>
                  <a:moveTo>
                    <a:pt x="344" y="309"/>
                  </a:moveTo>
                  <a:cubicBezTo>
                    <a:pt x="283" y="309"/>
                    <a:pt x="283" y="309"/>
                    <a:pt x="283" y="309"/>
                  </a:cubicBezTo>
                  <a:cubicBezTo>
                    <a:pt x="272" y="334"/>
                    <a:pt x="258" y="357"/>
                    <a:pt x="242" y="376"/>
                  </a:cubicBezTo>
                  <a:cubicBezTo>
                    <a:pt x="284" y="366"/>
                    <a:pt x="320" y="341"/>
                    <a:pt x="344" y="309"/>
                  </a:cubicBezTo>
                  <a:close/>
                </a:path>
              </a:pathLst>
            </a:custGeom>
            <a:solidFill>
              <a:srgbClr val="FFFFFF"/>
            </a:solidFill>
            <a:ln>
              <a:noFill/>
            </a:ln>
            <a:extLst/>
          </p:spPr>
          <p:txBody>
            <a:bodyPr vert="horz" wrap="square" lIns="89449" tIns="44723" rIns="89449" bIns="44723" numCol="1" anchor="t" anchorCtr="0" compatLnSpc="1">
              <a:prstTxWarp prst="textNoShape">
                <a:avLst/>
              </a:prstTxWarp>
            </a:bodyPr>
            <a:lstStyle/>
            <a:p>
              <a:pPr defTabSz="894356"/>
              <a:endParaRPr lang="en-US" sz="1765">
                <a:solidFill>
                  <a:srgbClr val="FFFFFF"/>
                </a:solidFill>
              </a:endParaRPr>
            </a:p>
          </p:txBody>
        </p:sp>
      </p:grpSp>
      <p:cxnSp>
        <p:nvCxnSpPr>
          <p:cNvPr id="37" name="Straight Connector 36"/>
          <p:cNvCxnSpPr/>
          <p:nvPr/>
        </p:nvCxnSpPr>
        <p:spPr>
          <a:xfrm>
            <a:off x="4517701" y="2455653"/>
            <a:ext cx="1" cy="25121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5943826" y="2465292"/>
            <a:ext cx="1" cy="25121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7391414" y="2488393"/>
            <a:ext cx="1" cy="25121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411457" y="2726008"/>
            <a:ext cx="1353519" cy="3543356"/>
            <a:chOff x="2711268" y="2765575"/>
            <a:chExt cx="1380856" cy="3614921"/>
          </a:xfrm>
        </p:grpSpPr>
        <p:sp>
          <p:nvSpPr>
            <p:cNvPr id="49" name="Rectangle 48"/>
            <p:cNvSpPr/>
            <p:nvPr/>
          </p:nvSpPr>
          <p:spPr bwMode="auto">
            <a:xfrm>
              <a:off x="2711269" y="2765575"/>
              <a:ext cx="1379545" cy="200223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693" tIns="45626" rIns="182511" bIns="45626" numCol="1" rtlCol="0" anchor="t" anchorCtr="0" compatLnSpc="1">
              <a:prstTxWarp prst="textNoShape">
                <a:avLst/>
              </a:prstTxWarp>
            </a:bodyPr>
            <a:lstStyle/>
            <a:p>
              <a:pPr algn="ctr" defTabSz="912148" fontAlgn="base">
                <a:lnSpc>
                  <a:spcPct val="90000"/>
                </a:lnSpc>
                <a:spcBef>
                  <a:spcPct val="0"/>
                </a:spcBef>
                <a:spcAft>
                  <a:spcPct val="0"/>
                </a:spcAft>
              </a:pPr>
              <a:endParaRPr lang="en-US" sz="1567" spc="-50" dirty="0">
                <a:gradFill>
                  <a:gsLst>
                    <a:gs pos="0">
                      <a:srgbClr val="EFEFEF"/>
                    </a:gs>
                    <a:gs pos="100000">
                      <a:srgbClr val="EFEFEF"/>
                    </a:gs>
                  </a:gsLst>
                  <a:lin ang="5400000" scaled="0"/>
                </a:gradFill>
              </a:endParaRPr>
            </a:p>
            <a:p>
              <a:pPr algn="ctr" defTabSz="912148" fontAlgn="base">
                <a:lnSpc>
                  <a:spcPct val="90000"/>
                </a:lnSpc>
                <a:spcBef>
                  <a:spcPct val="0"/>
                </a:spcBef>
                <a:spcAft>
                  <a:spcPct val="0"/>
                </a:spcAft>
              </a:pPr>
              <a:r>
                <a:rPr lang="en-US" sz="1567" spc="-50" dirty="0">
                  <a:gradFill>
                    <a:gsLst>
                      <a:gs pos="0">
                        <a:srgbClr val="EFEFEF"/>
                      </a:gs>
                      <a:gs pos="100000">
                        <a:srgbClr val="EFEFEF"/>
                      </a:gs>
                    </a:gsLst>
                    <a:lin ang="5400000" scaled="0"/>
                  </a:gradFill>
                </a:rPr>
                <a:t>Virtual machines</a:t>
              </a:r>
            </a:p>
          </p:txBody>
        </p:sp>
        <p:pic>
          <p:nvPicPr>
            <p:cNvPr id="143" name="Picture 1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06505" y="3529042"/>
              <a:ext cx="859244" cy="777354"/>
            </a:xfrm>
            <a:prstGeom prst="rect">
              <a:avLst/>
            </a:prstGeom>
            <a:noFill/>
            <a:ln>
              <a:noFill/>
            </a:ln>
          </p:spPr>
        </p:pic>
        <p:sp>
          <p:nvSpPr>
            <p:cNvPr id="50" name="Rectangle 49"/>
            <p:cNvSpPr/>
            <p:nvPr/>
          </p:nvSpPr>
          <p:spPr bwMode="auto">
            <a:xfrm>
              <a:off x="2711268" y="4574522"/>
              <a:ext cx="1380856" cy="1805974"/>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511" tIns="456270" rIns="182511" bIns="45626" numCol="1" rtlCol="0" anchor="t" anchorCtr="0" compatLnSpc="1">
              <a:prstTxWarp prst="textNoShape">
                <a:avLst/>
              </a:prstTxWarp>
            </a:bodyPr>
            <a:lstStyle/>
            <a:p>
              <a:pPr algn="ctr" defTabSz="912148" fontAlgn="base">
                <a:spcBef>
                  <a:spcPct val="0"/>
                </a:spcBef>
                <a:spcAft>
                  <a:spcPct val="0"/>
                </a:spcAft>
              </a:pPr>
              <a:endParaRPr lang="en-US" sz="1300" b="1" kern="0" spc="-50" dirty="0">
                <a:solidFill>
                  <a:schemeClr val="bg1">
                    <a:lumMod val="10000"/>
                  </a:schemeClr>
                </a:solidFill>
                <a:ea typeface="Segoe UI" pitchFamily="34" charset="0"/>
                <a:cs typeface="Segoe UI" pitchFamily="34" charset="0"/>
              </a:endParaRPr>
            </a:p>
            <a:p>
              <a:pPr algn="ctr" defTabSz="912148" fontAlgn="base">
                <a:spcBef>
                  <a:spcPct val="0"/>
                </a:spcBef>
                <a:spcAft>
                  <a:spcPct val="0"/>
                </a:spcAft>
              </a:pPr>
              <a:r>
                <a:rPr lang="en-US" sz="1300" b="1" kern="0" spc="-50" dirty="0">
                  <a:solidFill>
                    <a:schemeClr val="bg1">
                      <a:lumMod val="10000"/>
                    </a:schemeClr>
                  </a:solidFill>
                  <a:ea typeface="Segoe UI" pitchFamily="34" charset="0"/>
                  <a:cs typeface="Segoe UI" pitchFamily="34" charset="0"/>
                </a:rPr>
                <a:t>Infrastructure</a:t>
              </a:r>
              <a:r>
                <a:rPr lang="en-US" sz="1400" b="1" kern="0" spc="-50" dirty="0">
                  <a:solidFill>
                    <a:schemeClr val="bg1">
                      <a:lumMod val="10000"/>
                    </a:schemeClr>
                  </a:solidFill>
                  <a:ea typeface="Segoe UI" pitchFamily="34" charset="0"/>
                  <a:cs typeface="Segoe UI" pitchFamily="34" charset="0"/>
                </a:rPr>
                <a:t> Services (IaaS)</a:t>
              </a:r>
            </a:p>
          </p:txBody>
        </p:sp>
      </p:grpSp>
      <p:grpSp>
        <p:nvGrpSpPr>
          <p:cNvPr id="7" name="Group 6"/>
          <p:cNvGrpSpPr/>
          <p:nvPr/>
        </p:nvGrpSpPr>
        <p:grpSpPr>
          <a:xfrm>
            <a:off x="8144228" y="2724450"/>
            <a:ext cx="1348834" cy="3548256"/>
            <a:chOff x="5034956" y="2782348"/>
            <a:chExt cx="1376076" cy="3619919"/>
          </a:xfrm>
        </p:grpSpPr>
        <p:sp>
          <p:nvSpPr>
            <p:cNvPr id="54" name="Rectangle 53"/>
            <p:cNvSpPr/>
            <p:nvPr/>
          </p:nvSpPr>
          <p:spPr bwMode="auto">
            <a:xfrm>
              <a:off x="5034956" y="2782348"/>
              <a:ext cx="1376075" cy="181307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250" tIns="45626" rIns="182511" bIns="45626" numCol="1" rtlCol="0" anchor="t" anchorCtr="0" compatLnSpc="1">
              <a:prstTxWarp prst="textNoShape">
                <a:avLst/>
              </a:prstTxWarp>
            </a:bodyPr>
            <a:lstStyle/>
            <a:p>
              <a:pPr algn="ctr" defTabSz="912148" fontAlgn="base">
                <a:lnSpc>
                  <a:spcPct val="90000"/>
                </a:lnSpc>
                <a:spcBef>
                  <a:spcPct val="0"/>
                </a:spcBef>
                <a:spcAft>
                  <a:spcPct val="0"/>
                </a:spcAft>
              </a:pPr>
              <a:endParaRPr lang="en-US" sz="1567" spc="-50" dirty="0">
                <a:gradFill>
                  <a:gsLst>
                    <a:gs pos="0">
                      <a:srgbClr val="EFEFEF"/>
                    </a:gs>
                    <a:gs pos="100000">
                      <a:srgbClr val="EFEFEF"/>
                    </a:gs>
                  </a:gsLst>
                  <a:lin ang="5400000" scaled="0"/>
                </a:gradFill>
              </a:endParaRPr>
            </a:p>
            <a:p>
              <a:pPr algn="ctr" defTabSz="912148" fontAlgn="base">
                <a:lnSpc>
                  <a:spcPct val="90000"/>
                </a:lnSpc>
                <a:spcBef>
                  <a:spcPct val="0"/>
                </a:spcBef>
                <a:spcAft>
                  <a:spcPct val="0"/>
                </a:spcAft>
              </a:pPr>
              <a:r>
                <a:rPr lang="en-US" sz="1567" spc="-50" dirty="0">
                  <a:gradFill>
                    <a:gsLst>
                      <a:gs pos="0">
                        <a:srgbClr val="EFEFEF"/>
                      </a:gs>
                      <a:gs pos="100000">
                        <a:srgbClr val="EFEFEF"/>
                      </a:gs>
                    </a:gsLst>
                    <a:lin ang="5400000" scaled="0"/>
                  </a:gradFill>
                </a:rPr>
                <a:t>Service bus</a:t>
              </a:r>
            </a:p>
          </p:txBody>
        </p:sp>
        <p:grpSp>
          <p:nvGrpSpPr>
            <p:cNvPr id="57" name="Group 56"/>
            <p:cNvGrpSpPr/>
            <p:nvPr/>
          </p:nvGrpSpPr>
          <p:grpSpPr>
            <a:xfrm>
              <a:off x="5306005" y="3510229"/>
              <a:ext cx="921427" cy="814980"/>
              <a:chOff x="6598260" y="4590950"/>
              <a:chExt cx="349473" cy="304226"/>
            </a:xfrm>
          </p:grpSpPr>
          <p:sp>
            <p:nvSpPr>
              <p:cNvPr id="58" name="Freeform 5"/>
              <p:cNvSpPr>
                <a:spLocks/>
              </p:cNvSpPr>
              <p:nvPr/>
            </p:nvSpPr>
            <p:spPr bwMode="auto">
              <a:xfrm>
                <a:off x="6691674" y="470043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59" name="Freeform 6"/>
              <p:cNvSpPr>
                <a:spLocks/>
              </p:cNvSpPr>
              <p:nvPr/>
            </p:nvSpPr>
            <p:spPr bwMode="auto">
              <a:xfrm>
                <a:off x="6691674" y="469654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60" name="Freeform 7"/>
              <p:cNvSpPr>
                <a:spLocks/>
              </p:cNvSpPr>
              <p:nvPr/>
            </p:nvSpPr>
            <p:spPr bwMode="auto">
              <a:xfrm>
                <a:off x="6833929" y="468529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61" name="Freeform 8"/>
              <p:cNvSpPr>
                <a:spLocks/>
              </p:cNvSpPr>
              <p:nvPr/>
            </p:nvSpPr>
            <p:spPr bwMode="auto">
              <a:xfrm>
                <a:off x="6738144" y="4641582"/>
                <a:ext cx="0" cy="43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62" name="Freeform 9"/>
              <p:cNvSpPr>
                <a:spLocks/>
              </p:cNvSpPr>
              <p:nvPr/>
            </p:nvSpPr>
            <p:spPr bwMode="auto">
              <a:xfrm>
                <a:off x="6770389" y="4717747"/>
                <a:ext cx="0" cy="433"/>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1"/>
                      <a:pt x="0" y="1"/>
                      <a:pt x="0" y="1"/>
                    </a:cubicBezTo>
                    <a:cubicBezTo>
                      <a:pt x="0" y="1"/>
                      <a:pt x="0" y="1"/>
                      <a:pt x="0" y="1"/>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63" name="Freeform 10"/>
              <p:cNvSpPr>
                <a:spLocks noEditPoints="1"/>
              </p:cNvSpPr>
              <p:nvPr/>
            </p:nvSpPr>
            <p:spPr bwMode="auto">
              <a:xfrm>
                <a:off x="6645204" y="4590950"/>
                <a:ext cx="245627" cy="152329"/>
              </a:xfrm>
              <a:custGeom>
                <a:avLst/>
                <a:gdLst>
                  <a:gd name="T0" fmla="*/ 804 w 913"/>
                  <a:gd name="T1" fmla="*/ 236 h 620"/>
                  <a:gd name="T2" fmla="*/ 765 w 913"/>
                  <a:gd name="T3" fmla="*/ 243 h 620"/>
                  <a:gd name="T4" fmla="*/ 763 w 913"/>
                  <a:gd name="T5" fmla="*/ 193 h 620"/>
                  <a:gd name="T6" fmla="*/ 522 w 913"/>
                  <a:gd name="T7" fmla="*/ 18 h 620"/>
                  <a:gd name="T8" fmla="*/ 368 w 913"/>
                  <a:gd name="T9" fmla="*/ 129 h 620"/>
                  <a:gd name="T10" fmla="*/ 368 w 913"/>
                  <a:gd name="T11" fmla="*/ 129 h 620"/>
                  <a:gd name="T12" fmla="*/ 276 w 913"/>
                  <a:gd name="T13" fmla="*/ 82 h 620"/>
                  <a:gd name="T14" fmla="*/ 130 w 913"/>
                  <a:gd name="T15" fmla="*/ 206 h 620"/>
                  <a:gd name="T16" fmla="*/ 138 w 913"/>
                  <a:gd name="T17" fmla="*/ 262 h 620"/>
                  <a:gd name="T18" fmla="*/ 138 w 913"/>
                  <a:gd name="T19" fmla="*/ 262 h 620"/>
                  <a:gd name="T20" fmla="*/ 22 w 913"/>
                  <a:gd name="T21" fmla="*/ 333 h 620"/>
                  <a:gd name="T22" fmla="*/ 86 w 913"/>
                  <a:gd name="T23" fmla="*/ 476 h 620"/>
                  <a:gd name="T24" fmla="*/ 174 w 913"/>
                  <a:gd name="T25" fmla="*/ 472 h 620"/>
                  <a:gd name="T26" fmla="*/ 174 w 913"/>
                  <a:gd name="T27" fmla="*/ 472 h 620"/>
                  <a:gd name="T28" fmla="*/ 188 w 913"/>
                  <a:gd name="T29" fmla="*/ 512 h 620"/>
                  <a:gd name="T30" fmla="*/ 398 w 913"/>
                  <a:gd name="T31" fmla="*/ 582 h 620"/>
                  <a:gd name="T32" fmla="*/ 452 w 913"/>
                  <a:gd name="T33" fmla="*/ 538 h 620"/>
                  <a:gd name="T34" fmla="*/ 567 w 913"/>
                  <a:gd name="T35" fmla="*/ 576 h 620"/>
                  <a:gd name="T36" fmla="*/ 637 w 913"/>
                  <a:gd name="T37" fmla="*/ 500 h 620"/>
                  <a:gd name="T38" fmla="*/ 731 w 913"/>
                  <a:gd name="T39" fmla="*/ 506 h 620"/>
                  <a:gd name="T40" fmla="*/ 768 w 913"/>
                  <a:gd name="T41" fmla="*/ 448 h 620"/>
                  <a:gd name="T42" fmla="*/ 804 w 913"/>
                  <a:gd name="T43" fmla="*/ 454 h 620"/>
                  <a:gd name="T44" fmla="*/ 913 w 913"/>
                  <a:gd name="T45" fmla="*/ 346 h 620"/>
                  <a:gd name="T46" fmla="*/ 804 w 913"/>
                  <a:gd name="T47" fmla="*/ 236 h 620"/>
                  <a:gd name="T48" fmla="*/ 172 w 913"/>
                  <a:gd name="T49" fmla="*/ 446 h 620"/>
                  <a:gd name="T50" fmla="*/ 172 w 913"/>
                  <a:gd name="T51" fmla="*/ 446 h 620"/>
                  <a:gd name="T52" fmla="*/ 172 w 913"/>
                  <a:gd name="T53" fmla="*/ 446 h 620"/>
                  <a:gd name="T54" fmla="*/ 172 w 913"/>
                  <a:gd name="T55" fmla="*/ 446 h 620"/>
                  <a:gd name="T56" fmla="*/ 172 w 913"/>
                  <a:gd name="T57" fmla="*/ 431 h 620"/>
                  <a:gd name="T58" fmla="*/ 172 w 913"/>
                  <a:gd name="T59" fmla="*/ 431 h 620"/>
                  <a:gd name="T60" fmla="*/ 172 w 913"/>
                  <a:gd name="T61" fmla="*/ 431 h 620"/>
                  <a:gd name="T62" fmla="*/ 172 w 913"/>
                  <a:gd name="T63" fmla="*/ 431 h 620"/>
                  <a:gd name="T64" fmla="*/ 345 w 913"/>
                  <a:gd name="T65" fmla="*/ 208 h 620"/>
                  <a:gd name="T66" fmla="*/ 345 w 913"/>
                  <a:gd name="T67" fmla="*/ 207 h 620"/>
                  <a:gd name="T68" fmla="*/ 345 w 913"/>
                  <a:gd name="T69" fmla="*/ 207 h 620"/>
                  <a:gd name="T70" fmla="*/ 345 w 913"/>
                  <a:gd name="T71" fmla="*/ 208 h 620"/>
                  <a:gd name="T72" fmla="*/ 465 w 913"/>
                  <a:gd name="T73" fmla="*/ 518 h 620"/>
                  <a:gd name="T74" fmla="*/ 465 w 913"/>
                  <a:gd name="T75" fmla="*/ 518 h 620"/>
                  <a:gd name="T76" fmla="*/ 465 w 913"/>
                  <a:gd name="T77" fmla="*/ 517 h 620"/>
                  <a:gd name="T78" fmla="*/ 465 w 913"/>
                  <a:gd name="T79" fmla="*/ 518 h 620"/>
                  <a:gd name="T80" fmla="*/ 702 w 913"/>
                  <a:gd name="T81" fmla="*/ 385 h 620"/>
                  <a:gd name="T82" fmla="*/ 702 w 913"/>
                  <a:gd name="T83" fmla="*/ 385 h 620"/>
                  <a:gd name="T84" fmla="*/ 702 w 913"/>
                  <a:gd name="T85" fmla="*/ 385 h 620"/>
                  <a:gd name="T86" fmla="*/ 702 w 913"/>
                  <a:gd name="T87" fmla="*/ 3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3" h="620">
                    <a:moveTo>
                      <a:pt x="804" y="236"/>
                    </a:moveTo>
                    <a:cubicBezTo>
                      <a:pt x="791" y="236"/>
                      <a:pt x="778" y="239"/>
                      <a:pt x="765" y="243"/>
                    </a:cubicBezTo>
                    <a:cubicBezTo>
                      <a:pt x="767" y="227"/>
                      <a:pt x="766" y="210"/>
                      <a:pt x="763" y="193"/>
                    </a:cubicBezTo>
                    <a:cubicBezTo>
                      <a:pt x="745" y="78"/>
                      <a:pt x="637" y="0"/>
                      <a:pt x="522" y="18"/>
                    </a:cubicBezTo>
                    <a:cubicBezTo>
                      <a:pt x="453" y="29"/>
                      <a:pt x="398" y="72"/>
                      <a:pt x="368" y="129"/>
                    </a:cubicBezTo>
                    <a:cubicBezTo>
                      <a:pt x="368" y="129"/>
                      <a:pt x="368" y="129"/>
                      <a:pt x="368" y="129"/>
                    </a:cubicBezTo>
                    <a:cubicBezTo>
                      <a:pt x="346" y="102"/>
                      <a:pt x="314" y="85"/>
                      <a:pt x="276" y="82"/>
                    </a:cubicBezTo>
                    <a:cubicBezTo>
                      <a:pt x="202" y="75"/>
                      <a:pt x="136" y="131"/>
                      <a:pt x="130" y="206"/>
                    </a:cubicBezTo>
                    <a:cubicBezTo>
                      <a:pt x="128" y="225"/>
                      <a:pt x="131" y="245"/>
                      <a:pt x="138" y="262"/>
                    </a:cubicBezTo>
                    <a:cubicBezTo>
                      <a:pt x="138" y="262"/>
                      <a:pt x="138" y="262"/>
                      <a:pt x="138" y="262"/>
                    </a:cubicBezTo>
                    <a:cubicBezTo>
                      <a:pt x="89" y="257"/>
                      <a:pt x="41" y="285"/>
                      <a:pt x="22" y="333"/>
                    </a:cubicBezTo>
                    <a:cubicBezTo>
                      <a:pt x="0" y="390"/>
                      <a:pt x="29" y="454"/>
                      <a:pt x="86" y="476"/>
                    </a:cubicBezTo>
                    <a:cubicBezTo>
                      <a:pt x="116" y="488"/>
                      <a:pt x="148" y="485"/>
                      <a:pt x="174" y="472"/>
                    </a:cubicBezTo>
                    <a:cubicBezTo>
                      <a:pt x="174" y="472"/>
                      <a:pt x="174" y="472"/>
                      <a:pt x="174" y="472"/>
                    </a:cubicBezTo>
                    <a:cubicBezTo>
                      <a:pt x="177" y="485"/>
                      <a:pt x="182" y="499"/>
                      <a:pt x="188" y="512"/>
                    </a:cubicBezTo>
                    <a:cubicBezTo>
                      <a:pt x="227" y="589"/>
                      <a:pt x="321" y="620"/>
                      <a:pt x="398" y="582"/>
                    </a:cubicBezTo>
                    <a:cubicBezTo>
                      <a:pt x="420" y="571"/>
                      <a:pt x="438" y="556"/>
                      <a:pt x="452" y="538"/>
                    </a:cubicBezTo>
                    <a:cubicBezTo>
                      <a:pt x="477" y="573"/>
                      <a:pt x="523" y="590"/>
                      <a:pt x="567" y="576"/>
                    </a:cubicBezTo>
                    <a:cubicBezTo>
                      <a:pt x="604" y="565"/>
                      <a:pt x="629" y="535"/>
                      <a:pt x="637" y="500"/>
                    </a:cubicBezTo>
                    <a:cubicBezTo>
                      <a:pt x="663" y="521"/>
                      <a:pt x="701" y="525"/>
                      <a:pt x="731" y="506"/>
                    </a:cubicBezTo>
                    <a:cubicBezTo>
                      <a:pt x="752" y="493"/>
                      <a:pt x="765" y="471"/>
                      <a:pt x="768" y="448"/>
                    </a:cubicBezTo>
                    <a:cubicBezTo>
                      <a:pt x="779" y="452"/>
                      <a:pt x="791" y="454"/>
                      <a:pt x="804" y="454"/>
                    </a:cubicBezTo>
                    <a:cubicBezTo>
                      <a:pt x="864" y="455"/>
                      <a:pt x="913" y="406"/>
                      <a:pt x="913" y="346"/>
                    </a:cubicBezTo>
                    <a:cubicBezTo>
                      <a:pt x="913" y="285"/>
                      <a:pt x="864" y="236"/>
                      <a:pt x="804" y="236"/>
                    </a:cubicBezTo>
                    <a:close/>
                    <a:moveTo>
                      <a:pt x="172" y="446"/>
                    </a:moveTo>
                    <a:cubicBezTo>
                      <a:pt x="172" y="446"/>
                      <a:pt x="172" y="446"/>
                      <a:pt x="172" y="446"/>
                    </a:cubicBezTo>
                    <a:cubicBezTo>
                      <a:pt x="172" y="446"/>
                      <a:pt x="172" y="446"/>
                      <a:pt x="172" y="446"/>
                    </a:cubicBezTo>
                    <a:cubicBezTo>
                      <a:pt x="172" y="446"/>
                      <a:pt x="172" y="446"/>
                      <a:pt x="172" y="446"/>
                    </a:cubicBezTo>
                    <a:close/>
                    <a:moveTo>
                      <a:pt x="172" y="431"/>
                    </a:moveTo>
                    <a:cubicBezTo>
                      <a:pt x="172" y="431"/>
                      <a:pt x="172" y="431"/>
                      <a:pt x="172" y="431"/>
                    </a:cubicBezTo>
                    <a:cubicBezTo>
                      <a:pt x="172" y="431"/>
                      <a:pt x="172" y="431"/>
                      <a:pt x="172" y="431"/>
                    </a:cubicBezTo>
                    <a:cubicBezTo>
                      <a:pt x="172" y="431"/>
                      <a:pt x="172" y="431"/>
                      <a:pt x="172" y="431"/>
                    </a:cubicBezTo>
                    <a:close/>
                    <a:moveTo>
                      <a:pt x="345" y="208"/>
                    </a:moveTo>
                    <a:cubicBezTo>
                      <a:pt x="345" y="208"/>
                      <a:pt x="345" y="208"/>
                      <a:pt x="345" y="207"/>
                    </a:cubicBezTo>
                    <a:cubicBezTo>
                      <a:pt x="345" y="207"/>
                      <a:pt x="345" y="207"/>
                      <a:pt x="345" y="207"/>
                    </a:cubicBezTo>
                    <a:cubicBezTo>
                      <a:pt x="345" y="208"/>
                      <a:pt x="345" y="208"/>
                      <a:pt x="345" y="208"/>
                    </a:cubicBezTo>
                    <a:close/>
                    <a:moveTo>
                      <a:pt x="465" y="518"/>
                    </a:moveTo>
                    <a:cubicBezTo>
                      <a:pt x="465" y="518"/>
                      <a:pt x="465" y="518"/>
                      <a:pt x="465" y="518"/>
                    </a:cubicBezTo>
                    <a:cubicBezTo>
                      <a:pt x="465" y="518"/>
                      <a:pt x="465" y="518"/>
                      <a:pt x="465" y="517"/>
                    </a:cubicBezTo>
                    <a:cubicBezTo>
                      <a:pt x="465" y="517"/>
                      <a:pt x="465" y="518"/>
                      <a:pt x="465" y="518"/>
                    </a:cubicBezTo>
                    <a:close/>
                    <a:moveTo>
                      <a:pt x="702" y="385"/>
                    </a:moveTo>
                    <a:cubicBezTo>
                      <a:pt x="702" y="385"/>
                      <a:pt x="702" y="385"/>
                      <a:pt x="702" y="385"/>
                    </a:cubicBezTo>
                    <a:cubicBezTo>
                      <a:pt x="702" y="385"/>
                      <a:pt x="702" y="385"/>
                      <a:pt x="702" y="385"/>
                    </a:cubicBezTo>
                    <a:cubicBezTo>
                      <a:pt x="702" y="385"/>
                      <a:pt x="702" y="385"/>
                      <a:pt x="702" y="385"/>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64" name="Freeform 11"/>
              <p:cNvSpPr>
                <a:spLocks noEditPoints="1"/>
              </p:cNvSpPr>
              <p:nvPr/>
            </p:nvSpPr>
            <p:spPr bwMode="auto">
              <a:xfrm>
                <a:off x="6598260" y="4706928"/>
                <a:ext cx="41728" cy="90013"/>
              </a:xfrm>
              <a:custGeom>
                <a:avLst/>
                <a:gdLst>
                  <a:gd name="T0" fmla="*/ 79 w 155"/>
                  <a:gd name="T1" fmla="*/ 328 h 368"/>
                  <a:gd name="T2" fmla="*/ 114 w 155"/>
                  <a:gd name="T3" fmla="*/ 293 h 368"/>
                  <a:gd name="T4" fmla="*/ 113 w 155"/>
                  <a:gd name="T5" fmla="*/ 74 h 368"/>
                  <a:gd name="T6" fmla="*/ 154 w 155"/>
                  <a:gd name="T7" fmla="*/ 116 h 368"/>
                  <a:gd name="T8" fmla="*/ 154 w 155"/>
                  <a:gd name="T9" fmla="*/ 0 h 368"/>
                  <a:gd name="T10" fmla="*/ 38 w 155"/>
                  <a:gd name="T11" fmla="*/ 0 h 368"/>
                  <a:gd name="T12" fmla="*/ 78 w 155"/>
                  <a:gd name="T13" fmla="*/ 40 h 368"/>
                  <a:gd name="T14" fmla="*/ 79 w 155"/>
                  <a:gd name="T15" fmla="*/ 328 h 368"/>
                  <a:gd name="T16" fmla="*/ 39 w 155"/>
                  <a:gd name="T17" fmla="*/ 368 h 368"/>
                  <a:gd name="T18" fmla="*/ 155 w 155"/>
                  <a:gd name="T19" fmla="*/ 368 h 368"/>
                  <a:gd name="T20" fmla="*/ 155 w 155"/>
                  <a:gd name="T21" fmla="*/ 253 h 368"/>
                  <a:gd name="T22" fmla="*/ 39 w 155"/>
                  <a:gd name="T23"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9" y="328"/>
                    </a:moveTo>
                    <a:cubicBezTo>
                      <a:pt x="114" y="293"/>
                      <a:pt x="114" y="293"/>
                      <a:pt x="114" y="293"/>
                    </a:cubicBezTo>
                    <a:cubicBezTo>
                      <a:pt x="54" y="233"/>
                      <a:pt x="53" y="135"/>
                      <a:pt x="113" y="74"/>
                    </a:cubicBezTo>
                    <a:cubicBezTo>
                      <a:pt x="154" y="116"/>
                      <a:pt x="154" y="116"/>
                      <a:pt x="154" y="116"/>
                    </a:cubicBezTo>
                    <a:cubicBezTo>
                      <a:pt x="154" y="0"/>
                      <a:pt x="154" y="0"/>
                      <a:pt x="154" y="0"/>
                    </a:cubicBezTo>
                    <a:cubicBezTo>
                      <a:pt x="38" y="0"/>
                      <a:pt x="38" y="0"/>
                      <a:pt x="38" y="0"/>
                    </a:cubicBezTo>
                    <a:cubicBezTo>
                      <a:pt x="78" y="40"/>
                      <a:pt x="78" y="40"/>
                      <a:pt x="78" y="40"/>
                    </a:cubicBezTo>
                    <a:cubicBezTo>
                      <a:pt x="0" y="120"/>
                      <a:pt x="0" y="248"/>
                      <a:pt x="79" y="328"/>
                    </a:cubicBezTo>
                    <a:close/>
                    <a:moveTo>
                      <a:pt x="39" y="368"/>
                    </a:moveTo>
                    <a:cubicBezTo>
                      <a:pt x="155" y="368"/>
                      <a:pt x="155" y="368"/>
                      <a:pt x="155" y="368"/>
                    </a:cubicBezTo>
                    <a:cubicBezTo>
                      <a:pt x="155" y="253"/>
                      <a:pt x="155" y="253"/>
                      <a:pt x="155" y="253"/>
                    </a:cubicBezTo>
                    <a:lnTo>
                      <a:pt x="39" y="368"/>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65" name="Freeform 12"/>
              <p:cNvSpPr>
                <a:spLocks/>
              </p:cNvSpPr>
              <p:nvPr/>
            </p:nvSpPr>
            <p:spPr bwMode="auto">
              <a:xfrm>
                <a:off x="6673181" y="4822906"/>
                <a:ext cx="35564" cy="6059"/>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66" name="Freeform 13"/>
              <p:cNvSpPr>
                <a:spLocks/>
              </p:cNvSpPr>
              <p:nvPr/>
            </p:nvSpPr>
            <p:spPr bwMode="auto">
              <a:xfrm>
                <a:off x="6649946" y="4836754"/>
                <a:ext cx="58799" cy="6491"/>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67" name="Freeform 14"/>
              <p:cNvSpPr>
                <a:spLocks/>
              </p:cNvSpPr>
              <p:nvPr/>
            </p:nvSpPr>
            <p:spPr bwMode="auto">
              <a:xfrm>
                <a:off x="6649946" y="4851035"/>
                <a:ext cx="58799" cy="6491"/>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68" name="Freeform 15"/>
              <p:cNvSpPr>
                <a:spLocks/>
              </p:cNvSpPr>
              <p:nvPr/>
            </p:nvSpPr>
            <p:spPr bwMode="auto">
              <a:xfrm>
                <a:off x="6649946" y="4865316"/>
                <a:ext cx="58799" cy="6059"/>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69" name="Freeform 16"/>
              <p:cNvSpPr>
                <a:spLocks noEditPoints="1"/>
              </p:cNvSpPr>
              <p:nvPr/>
            </p:nvSpPr>
            <p:spPr bwMode="auto">
              <a:xfrm>
                <a:off x="6631927" y="4795210"/>
                <a:ext cx="95785" cy="99966"/>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70" name="Freeform 17"/>
              <p:cNvSpPr>
                <a:spLocks/>
              </p:cNvSpPr>
              <p:nvPr/>
            </p:nvSpPr>
            <p:spPr bwMode="auto">
              <a:xfrm>
                <a:off x="6839619" y="4822906"/>
                <a:ext cx="36038" cy="6059"/>
              </a:xfrm>
              <a:custGeom>
                <a:avLst/>
                <a:gdLst>
                  <a:gd name="T0" fmla="*/ 120 w 133"/>
                  <a:gd name="T1" fmla="*/ 0 h 25"/>
                  <a:gd name="T2" fmla="*/ 12 w 133"/>
                  <a:gd name="T3" fmla="*/ 0 h 25"/>
                  <a:gd name="T4" fmla="*/ 0 w 133"/>
                  <a:gd name="T5" fmla="*/ 13 h 25"/>
                  <a:gd name="T6" fmla="*/ 12 w 133"/>
                  <a:gd name="T7" fmla="*/ 25 h 25"/>
                  <a:gd name="T8" fmla="*/ 120 w 133"/>
                  <a:gd name="T9" fmla="*/ 25 h 25"/>
                  <a:gd name="T10" fmla="*/ 133 w 133"/>
                  <a:gd name="T11" fmla="*/ 13 h 25"/>
                  <a:gd name="T12" fmla="*/ 120 w 133"/>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3" h="25">
                    <a:moveTo>
                      <a:pt x="120" y="0"/>
                    </a:moveTo>
                    <a:cubicBezTo>
                      <a:pt x="12" y="0"/>
                      <a:pt x="12" y="0"/>
                      <a:pt x="12" y="0"/>
                    </a:cubicBezTo>
                    <a:cubicBezTo>
                      <a:pt x="6" y="0"/>
                      <a:pt x="0" y="6"/>
                      <a:pt x="0" y="13"/>
                    </a:cubicBezTo>
                    <a:cubicBezTo>
                      <a:pt x="0" y="20"/>
                      <a:pt x="6" y="25"/>
                      <a:pt x="12" y="25"/>
                    </a:cubicBezTo>
                    <a:cubicBezTo>
                      <a:pt x="120" y="25"/>
                      <a:pt x="120" y="25"/>
                      <a:pt x="120" y="25"/>
                    </a:cubicBezTo>
                    <a:cubicBezTo>
                      <a:pt x="127" y="25"/>
                      <a:pt x="133" y="20"/>
                      <a:pt x="133" y="13"/>
                    </a:cubicBezTo>
                    <a:cubicBezTo>
                      <a:pt x="133" y="6"/>
                      <a:pt x="127" y="0"/>
                      <a:pt x="120"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71" name="Freeform 18"/>
              <p:cNvSpPr>
                <a:spLocks/>
              </p:cNvSpPr>
              <p:nvPr/>
            </p:nvSpPr>
            <p:spPr bwMode="auto">
              <a:xfrm>
                <a:off x="6816858" y="4836754"/>
                <a:ext cx="58799" cy="6491"/>
              </a:xfrm>
              <a:custGeom>
                <a:avLst/>
                <a:gdLst>
                  <a:gd name="T0" fmla="*/ 205 w 218"/>
                  <a:gd name="T1" fmla="*/ 0 h 25"/>
                  <a:gd name="T2" fmla="*/ 12 w 218"/>
                  <a:gd name="T3" fmla="*/ 0 h 25"/>
                  <a:gd name="T4" fmla="*/ 0 w 218"/>
                  <a:gd name="T5" fmla="*/ 13 h 25"/>
                  <a:gd name="T6" fmla="*/ 12 w 218"/>
                  <a:gd name="T7" fmla="*/ 25 h 25"/>
                  <a:gd name="T8" fmla="*/ 205 w 218"/>
                  <a:gd name="T9" fmla="*/ 25 h 25"/>
                  <a:gd name="T10" fmla="*/ 218 w 218"/>
                  <a:gd name="T11" fmla="*/ 13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6"/>
                      <a:pt x="0" y="13"/>
                    </a:cubicBezTo>
                    <a:cubicBezTo>
                      <a:pt x="0" y="20"/>
                      <a:pt x="5" y="25"/>
                      <a:pt x="12" y="25"/>
                    </a:cubicBezTo>
                    <a:cubicBezTo>
                      <a:pt x="205" y="25"/>
                      <a:pt x="205" y="25"/>
                      <a:pt x="205" y="25"/>
                    </a:cubicBezTo>
                    <a:cubicBezTo>
                      <a:pt x="212" y="25"/>
                      <a:pt x="218" y="20"/>
                      <a:pt x="218" y="13"/>
                    </a:cubicBezTo>
                    <a:cubicBezTo>
                      <a:pt x="218" y="6"/>
                      <a:pt x="212" y="0"/>
                      <a:pt x="205"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72" name="Freeform 19"/>
              <p:cNvSpPr>
                <a:spLocks/>
              </p:cNvSpPr>
              <p:nvPr/>
            </p:nvSpPr>
            <p:spPr bwMode="auto">
              <a:xfrm>
                <a:off x="6816858" y="4851035"/>
                <a:ext cx="58799" cy="6491"/>
              </a:xfrm>
              <a:custGeom>
                <a:avLst/>
                <a:gdLst>
                  <a:gd name="T0" fmla="*/ 205 w 218"/>
                  <a:gd name="T1" fmla="*/ 0 h 25"/>
                  <a:gd name="T2" fmla="*/ 12 w 218"/>
                  <a:gd name="T3" fmla="*/ 0 h 25"/>
                  <a:gd name="T4" fmla="*/ 0 w 218"/>
                  <a:gd name="T5" fmla="*/ 12 h 25"/>
                  <a:gd name="T6" fmla="*/ 12 w 218"/>
                  <a:gd name="T7" fmla="*/ 25 h 25"/>
                  <a:gd name="T8" fmla="*/ 205 w 218"/>
                  <a:gd name="T9" fmla="*/ 25 h 25"/>
                  <a:gd name="T10" fmla="*/ 218 w 218"/>
                  <a:gd name="T11" fmla="*/ 12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5"/>
                      <a:pt x="0" y="12"/>
                    </a:cubicBezTo>
                    <a:cubicBezTo>
                      <a:pt x="0" y="19"/>
                      <a:pt x="5" y="25"/>
                      <a:pt x="12" y="25"/>
                    </a:cubicBezTo>
                    <a:cubicBezTo>
                      <a:pt x="205" y="25"/>
                      <a:pt x="205" y="25"/>
                      <a:pt x="205" y="25"/>
                    </a:cubicBezTo>
                    <a:cubicBezTo>
                      <a:pt x="212" y="25"/>
                      <a:pt x="218" y="19"/>
                      <a:pt x="218" y="12"/>
                    </a:cubicBezTo>
                    <a:cubicBezTo>
                      <a:pt x="218" y="5"/>
                      <a:pt x="212" y="0"/>
                      <a:pt x="205"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73" name="Freeform 20"/>
              <p:cNvSpPr>
                <a:spLocks/>
              </p:cNvSpPr>
              <p:nvPr/>
            </p:nvSpPr>
            <p:spPr bwMode="auto">
              <a:xfrm>
                <a:off x="6816858" y="4865316"/>
                <a:ext cx="58799" cy="6059"/>
              </a:xfrm>
              <a:custGeom>
                <a:avLst/>
                <a:gdLst>
                  <a:gd name="T0" fmla="*/ 205 w 218"/>
                  <a:gd name="T1" fmla="*/ 0 h 25"/>
                  <a:gd name="T2" fmla="*/ 12 w 218"/>
                  <a:gd name="T3" fmla="*/ 0 h 25"/>
                  <a:gd name="T4" fmla="*/ 0 w 218"/>
                  <a:gd name="T5" fmla="*/ 13 h 25"/>
                  <a:gd name="T6" fmla="*/ 12 w 218"/>
                  <a:gd name="T7" fmla="*/ 25 h 25"/>
                  <a:gd name="T8" fmla="*/ 205 w 218"/>
                  <a:gd name="T9" fmla="*/ 25 h 25"/>
                  <a:gd name="T10" fmla="*/ 218 w 218"/>
                  <a:gd name="T11" fmla="*/ 13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6"/>
                      <a:pt x="0" y="13"/>
                    </a:cubicBezTo>
                    <a:cubicBezTo>
                      <a:pt x="0" y="20"/>
                      <a:pt x="5" y="25"/>
                      <a:pt x="12" y="25"/>
                    </a:cubicBezTo>
                    <a:cubicBezTo>
                      <a:pt x="205" y="25"/>
                      <a:pt x="205" y="25"/>
                      <a:pt x="205" y="25"/>
                    </a:cubicBezTo>
                    <a:cubicBezTo>
                      <a:pt x="212" y="25"/>
                      <a:pt x="218" y="20"/>
                      <a:pt x="218" y="13"/>
                    </a:cubicBezTo>
                    <a:cubicBezTo>
                      <a:pt x="218" y="6"/>
                      <a:pt x="212" y="0"/>
                      <a:pt x="205"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74" name="Freeform 21"/>
              <p:cNvSpPr>
                <a:spLocks noEditPoints="1"/>
              </p:cNvSpPr>
              <p:nvPr/>
            </p:nvSpPr>
            <p:spPr bwMode="auto">
              <a:xfrm>
                <a:off x="6798366" y="4795210"/>
                <a:ext cx="95785" cy="99966"/>
              </a:xfrm>
              <a:custGeom>
                <a:avLst/>
                <a:gdLst>
                  <a:gd name="T0" fmla="*/ 333 w 357"/>
                  <a:gd name="T1" fmla="*/ 407 h 407"/>
                  <a:gd name="T2" fmla="*/ 357 w 357"/>
                  <a:gd name="T3" fmla="*/ 407 h 407"/>
                  <a:gd name="T4" fmla="*/ 357 w 357"/>
                  <a:gd name="T5" fmla="*/ 39 h 407"/>
                  <a:gd name="T6" fmla="*/ 316 w 357"/>
                  <a:gd name="T7" fmla="*/ 0 h 407"/>
                  <a:gd name="T8" fmla="*/ 116 w 357"/>
                  <a:gd name="T9" fmla="*/ 0 h 407"/>
                  <a:gd name="T10" fmla="*/ 0 w 357"/>
                  <a:gd name="T11" fmla="*/ 103 h 407"/>
                  <a:gd name="T12" fmla="*/ 0 w 357"/>
                  <a:gd name="T13" fmla="*/ 367 h 407"/>
                  <a:gd name="T14" fmla="*/ 41 w 357"/>
                  <a:gd name="T15" fmla="*/ 407 h 407"/>
                  <a:gd name="T16" fmla="*/ 333 w 357"/>
                  <a:gd name="T17" fmla="*/ 407 h 407"/>
                  <a:gd name="T18" fmla="*/ 52 w 357"/>
                  <a:gd name="T19" fmla="*/ 384 h 407"/>
                  <a:gd name="T20" fmla="*/ 25 w 357"/>
                  <a:gd name="T21" fmla="*/ 356 h 407"/>
                  <a:gd name="T22" fmla="*/ 25 w 357"/>
                  <a:gd name="T23" fmla="*/ 118 h 407"/>
                  <a:gd name="T24" fmla="*/ 96 w 357"/>
                  <a:gd name="T25" fmla="*/ 118 h 407"/>
                  <a:gd name="T26" fmla="*/ 119 w 357"/>
                  <a:gd name="T27" fmla="*/ 113 h 407"/>
                  <a:gd name="T28" fmla="*/ 129 w 357"/>
                  <a:gd name="T29" fmla="*/ 92 h 407"/>
                  <a:gd name="T30" fmla="*/ 129 w 357"/>
                  <a:gd name="T31" fmla="*/ 25 h 407"/>
                  <a:gd name="T32" fmla="*/ 305 w 357"/>
                  <a:gd name="T33" fmla="*/ 25 h 407"/>
                  <a:gd name="T34" fmla="*/ 333 w 357"/>
                  <a:gd name="T35" fmla="*/ 53 h 407"/>
                  <a:gd name="T36" fmla="*/ 333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3" y="407"/>
                    </a:moveTo>
                    <a:cubicBezTo>
                      <a:pt x="357" y="407"/>
                      <a:pt x="357" y="407"/>
                      <a:pt x="357" y="407"/>
                    </a:cubicBezTo>
                    <a:cubicBezTo>
                      <a:pt x="357" y="39"/>
                      <a:pt x="357" y="39"/>
                      <a:pt x="357" y="39"/>
                    </a:cubicBezTo>
                    <a:cubicBezTo>
                      <a:pt x="357" y="16"/>
                      <a:pt x="334" y="0"/>
                      <a:pt x="316" y="0"/>
                    </a:cubicBezTo>
                    <a:cubicBezTo>
                      <a:pt x="116" y="0"/>
                      <a:pt x="116" y="0"/>
                      <a:pt x="116" y="0"/>
                    </a:cubicBezTo>
                    <a:cubicBezTo>
                      <a:pt x="86" y="26"/>
                      <a:pt x="47" y="64"/>
                      <a:pt x="0" y="103"/>
                    </a:cubicBezTo>
                    <a:cubicBezTo>
                      <a:pt x="0" y="367"/>
                      <a:pt x="0" y="367"/>
                      <a:pt x="0" y="367"/>
                    </a:cubicBezTo>
                    <a:cubicBezTo>
                      <a:pt x="0" y="392"/>
                      <a:pt x="22" y="407"/>
                      <a:pt x="41" y="407"/>
                    </a:cubicBezTo>
                    <a:cubicBezTo>
                      <a:pt x="333" y="407"/>
                      <a:pt x="333" y="407"/>
                      <a:pt x="333" y="407"/>
                    </a:cubicBezTo>
                    <a:close/>
                    <a:moveTo>
                      <a:pt x="52" y="384"/>
                    </a:moveTo>
                    <a:cubicBezTo>
                      <a:pt x="37" y="384"/>
                      <a:pt x="25" y="372"/>
                      <a:pt x="25" y="356"/>
                    </a:cubicBezTo>
                    <a:cubicBezTo>
                      <a:pt x="25" y="118"/>
                      <a:pt x="25" y="118"/>
                      <a:pt x="25" y="118"/>
                    </a:cubicBezTo>
                    <a:cubicBezTo>
                      <a:pt x="96" y="118"/>
                      <a:pt x="96" y="118"/>
                      <a:pt x="96" y="118"/>
                    </a:cubicBezTo>
                    <a:cubicBezTo>
                      <a:pt x="96" y="118"/>
                      <a:pt x="112" y="117"/>
                      <a:pt x="119" y="113"/>
                    </a:cubicBezTo>
                    <a:cubicBezTo>
                      <a:pt x="130" y="106"/>
                      <a:pt x="129" y="92"/>
                      <a:pt x="129" y="92"/>
                    </a:cubicBezTo>
                    <a:cubicBezTo>
                      <a:pt x="129" y="25"/>
                      <a:pt x="129" y="25"/>
                      <a:pt x="129" y="25"/>
                    </a:cubicBezTo>
                    <a:cubicBezTo>
                      <a:pt x="305" y="25"/>
                      <a:pt x="305" y="25"/>
                      <a:pt x="305" y="25"/>
                    </a:cubicBezTo>
                    <a:cubicBezTo>
                      <a:pt x="320" y="25"/>
                      <a:pt x="333" y="37"/>
                      <a:pt x="333" y="53"/>
                    </a:cubicBezTo>
                    <a:cubicBezTo>
                      <a:pt x="333" y="384"/>
                      <a:pt x="333" y="384"/>
                      <a:pt x="333" y="384"/>
                    </a:cubicBezTo>
                    <a:lnTo>
                      <a:pt x="52" y="384"/>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75" name="Freeform 22"/>
              <p:cNvSpPr>
                <a:spLocks/>
              </p:cNvSpPr>
              <p:nvPr/>
            </p:nvSpPr>
            <p:spPr bwMode="auto">
              <a:xfrm>
                <a:off x="6735299" y="4827666"/>
                <a:ext cx="21812" cy="40679"/>
              </a:xfrm>
              <a:custGeom>
                <a:avLst/>
                <a:gdLst>
                  <a:gd name="T0" fmla="*/ 46 w 46"/>
                  <a:gd name="T1" fmla="*/ 0 h 94"/>
                  <a:gd name="T2" fmla="*/ 0 w 46"/>
                  <a:gd name="T3" fmla="*/ 47 h 94"/>
                  <a:gd name="T4" fmla="*/ 46 w 46"/>
                  <a:gd name="T5" fmla="*/ 94 h 94"/>
                  <a:gd name="T6" fmla="*/ 46 w 46"/>
                  <a:gd name="T7" fmla="*/ 0 h 94"/>
                </a:gdLst>
                <a:ahLst/>
                <a:cxnLst>
                  <a:cxn ang="0">
                    <a:pos x="T0" y="T1"/>
                  </a:cxn>
                  <a:cxn ang="0">
                    <a:pos x="T2" y="T3"/>
                  </a:cxn>
                  <a:cxn ang="0">
                    <a:pos x="T4" y="T5"/>
                  </a:cxn>
                  <a:cxn ang="0">
                    <a:pos x="T6" y="T7"/>
                  </a:cxn>
                </a:cxnLst>
                <a:rect l="0" t="0" r="r" b="b"/>
                <a:pathLst>
                  <a:path w="46" h="94">
                    <a:moveTo>
                      <a:pt x="46" y="0"/>
                    </a:moveTo>
                    <a:lnTo>
                      <a:pt x="0" y="47"/>
                    </a:lnTo>
                    <a:lnTo>
                      <a:pt x="46" y="94"/>
                    </a:lnTo>
                    <a:lnTo>
                      <a:pt x="46" y="0"/>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76" name="Freeform 23"/>
              <p:cNvSpPr>
                <a:spLocks/>
              </p:cNvSpPr>
              <p:nvPr/>
            </p:nvSpPr>
            <p:spPr bwMode="auto">
              <a:xfrm>
                <a:off x="6768018" y="4827666"/>
                <a:ext cx="21812" cy="40679"/>
              </a:xfrm>
              <a:custGeom>
                <a:avLst/>
                <a:gdLst>
                  <a:gd name="T0" fmla="*/ 0 w 46"/>
                  <a:gd name="T1" fmla="*/ 94 h 94"/>
                  <a:gd name="T2" fmla="*/ 46 w 46"/>
                  <a:gd name="T3" fmla="*/ 47 h 94"/>
                  <a:gd name="T4" fmla="*/ 0 w 46"/>
                  <a:gd name="T5" fmla="*/ 0 h 94"/>
                  <a:gd name="T6" fmla="*/ 0 w 46"/>
                  <a:gd name="T7" fmla="*/ 94 h 94"/>
                </a:gdLst>
                <a:ahLst/>
                <a:cxnLst>
                  <a:cxn ang="0">
                    <a:pos x="T0" y="T1"/>
                  </a:cxn>
                  <a:cxn ang="0">
                    <a:pos x="T2" y="T3"/>
                  </a:cxn>
                  <a:cxn ang="0">
                    <a:pos x="T4" y="T5"/>
                  </a:cxn>
                  <a:cxn ang="0">
                    <a:pos x="T6" y="T7"/>
                  </a:cxn>
                </a:cxnLst>
                <a:rect l="0" t="0" r="r" b="b"/>
                <a:pathLst>
                  <a:path w="46" h="94">
                    <a:moveTo>
                      <a:pt x="0" y="94"/>
                    </a:moveTo>
                    <a:lnTo>
                      <a:pt x="46" y="47"/>
                    </a:lnTo>
                    <a:lnTo>
                      <a:pt x="0" y="0"/>
                    </a:lnTo>
                    <a:lnTo>
                      <a:pt x="0" y="94"/>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sp>
            <p:nvSpPr>
              <p:cNvPr id="77" name="Freeform 24"/>
              <p:cNvSpPr>
                <a:spLocks noEditPoints="1"/>
              </p:cNvSpPr>
              <p:nvPr/>
            </p:nvSpPr>
            <p:spPr bwMode="auto">
              <a:xfrm>
                <a:off x="6906005" y="4706928"/>
                <a:ext cx="41728" cy="90013"/>
              </a:xfrm>
              <a:custGeom>
                <a:avLst/>
                <a:gdLst>
                  <a:gd name="T0" fmla="*/ 76 w 155"/>
                  <a:gd name="T1" fmla="*/ 41 h 368"/>
                  <a:gd name="T2" fmla="*/ 41 w 155"/>
                  <a:gd name="T3" fmla="*/ 75 h 368"/>
                  <a:gd name="T4" fmla="*/ 42 w 155"/>
                  <a:gd name="T5" fmla="*/ 294 h 368"/>
                  <a:gd name="T6" fmla="*/ 1 w 155"/>
                  <a:gd name="T7" fmla="*/ 253 h 368"/>
                  <a:gd name="T8" fmla="*/ 1 w 155"/>
                  <a:gd name="T9" fmla="*/ 368 h 368"/>
                  <a:gd name="T10" fmla="*/ 117 w 155"/>
                  <a:gd name="T11" fmla="*/ 368 h 368"/>
                  <a:gd name="T12" fmla="*/ 77 w 155"/>
                  <a:gd name="T13" fmla="*/ 329 h 368"/>
                  <a:gd name="T14" fmla="*/ 76 w 155"/>
                  <a:gd name="T15" fmla="*/ 41 h 368"/>
                  <a:gd name="T16" fmla="*/ 116 w 155"/>
                  <a:gd name="T17" fmla="*/ 0 h 368"/>
                  <a:gd name="T18" fmla="*/ 0 w 155"/>
                  <a:gd name="T19" fmla="*/ 0 h 368"/>
                  <a:gd name="T20" fmla="*/ 0 w 155"/>
                  <a:gd name="T21" fmla="*/ 116 h 368"/>
                  <a:gd name="T22" fmla="*/ 116 w 155"/>
                  <a:gd name="T23"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6" y="41"/>
                    </a:moveTo>
                    <a:cubicBezTo>
                      <a:pt x="41" y="75"/>
                      <a:pt x="41" y="75"/>
                      <a:pt x="41" y="75"/>
                    </a:cubicBezTo>
                    <a:cubicBezTo>
                      <a:pt x="101" y="136"/>
                      <a:pt x="102" y="233"/>
                      <a:pt x="42" y="294"/>
                    </a:cubicBezTo>
                    <a:cubicBezTo>
                      <a:pt x="1" y="253"/>
                      <a:pt x="1" y="253"/>
                      <a:pt x="1" y="253"/>
                    </a:cubicBezTo>
                    <a:cubicBezTo>
                      <a:pt x="1" y="368"/>
                      <a:pt x="1" y="368"/>
                      <a:pt x="1" y="368"/>
                    </a:cubicBezTo>
                    <a:cubicBezTo>
                      <a:pt x="117" y="368"/>
                      <a:pt x="117" y="368"/>
                      <a:pt x="117" y="368"/>
                    </a:cubicBezTo>
                    <a:cubicBezTo>
                      <a:pt x="77" y="329"/>
                      <a:pt x="77" y="329"/>
                      <a:pt x="77" y="329"/>
                    </a:cubicBezTo>
                    <a:cubicBezTo>
                      <a:pt x="155" y="249"/>
                      <a:pt x="155" y="120"/>
                      <a:pt x="76" y="41"/>
                    </a:cubicBezTo>
                    <a:close/>
                    <a:moveTo>
                      <a:pt x="116" y="0"/>
                    </a:moveTo>
                    <a:cubicBezTo>
                      <a:pt x="0" y="0"/>
                      <a:pt x="0" y="0"/>
                      <a:pt x="0" y="0"/>
                    </a:cubicBezTo>
                    <a:cubicBezTo>
                      <a:pt x="0" y="116"/>
                      <a:pt x="0" y="116"/>
                      <a:pt x="0" y="116"/>
                    </a:cubicBezTo>
                    <a:lnTo>
                      <a:pt x="116" y="0"/>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algn="ctr" defTabSz="1085970"/>
                <a:endParaRPr lang="en-US" sz="1765">
                  <a:solidFill>
                    <a:srgbClr val="505050"/>
                  </a:solidFill>
                </a:endParaRPr>
              </a:p>
            </p:txBody>
          </p:sp>
        </p:grpSp>
        <p:sp>
          <p:nvSpPr>
            <p:cNvPr id="56" name="Rectangle 55"/>
            <p:cNvSpPr/>
            <p:nvPr/>
          </p:nvSpPr>
          <p:spPr bwMode="auto">
            <a:xfrm>
              <a:off x="5034957" y="4595422"/>
              <a:ext cx="1376075" cy="1806845"/>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511" tIns="456270" rIns="182511" bIns="45626" numCol="1" rtlCol="0" anchor="t" anchorCtr="0" compatLnSpc="1">
              <a:prstTxWarp prst="textNoShape">
                <a:avLst/>
              </a:prstTxWarp>
            </a:bodyPr>
            <a:lstStyle/>
            <a:p>
              <a:pPr algn="ctr" defTabSz="912148" fontAlgn="base">
                <a:spcBef>
                  <a:spcPct val="0"/>
                </a:spcBef>
                <a:spcAft>
                  <a:spcPct val="0"/>
                </a:spcAft>
              </a:pPr>
              <a:endParaRPr lang="en-US" sz="1400" b="1" kern="0" spc="-50" dirty="0">
                <a:solidFill>
                  <a:schemeClr val="bg1">
                    <a:lumMod val="10000"/>
                  </a:schemeClr>
                </a:solidFill>
                <a:ea typeface="Segoe UI" pitchFamily="34" charset="0"/>
                <a:cs typeface="Segoe UI" pitchFamily="34" charset="0"/>
              </a:endParaRPr>
            </a:p>
            <a:p>
              <a:pPr algn="ctr" defTabSz="912148" fontAlgn="base">
                <a:spcBef>
                  <a:spcPct val="0"/>
                </a:spcBef>
                <a:spcAft>
                  <a:spcPct val="0"/>
                </a:spcAft>
              </a:pPr>
              <a:r>
                <a:rPr lang="en-US" sz="1400" b="1" kern="0" spc="-50" dirty="0">
                  <a:solidFill>
                    <a:schemeClr val="bg1">
                      <a:lumMod val="10000"/>
                    </a:schemeClr>
                  </a:solidFill>
                  <a:ea typeface="Segoe UI" pitchFamily="34" charset="0"/>
                  <a:cs typeface="Segoe UI" pitchFamily="34" charset="0"/>
                </a:rPr>
                <a:t>Reliable Messaging</a:t>
              </a:r>
            </a:p>
          </p:txBody>
        </p:sp>
      </p:grpSp>
      <p:sp>
        <p:nvSpPr>
          <p:cNvPr id="78" name="Rectangle 77"/>
          <p:cNvSpPr/>
          <p:nvPr/>
        </p:nvSpPr>
        <p:spPr bwMode="auto">
          <a:xfrm>
            <a:off x="2411033" y="1920946"/>
            <a:ext cx="7087569" cy="566509"/>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693" tIns="45626" rIns="182511" bIns="45626" numCol="1" rtlCol="0" anchor="ctr" anchorCtr="0" compatLnSpc="1">
            <a:prstTxWarp prst="textNoShape">
              <a:avLst/>
            </a:prstTxWarp>
          </a:bodyPr>
          <a:lstStyle/>
          <a:p>
            <a:pPr algn="ctr" defTabSz="912148" fontAlgn="base">
              <a:lnSpc>
                <a:spcPct val="90000"/>
              </a:lnSpc>
              <a:spcBef>
                <a:spcPct val="0"/>
              </a:spcBef>
              <a:spcAft>
                <a:spcPct val="0"/>
              </a:spcAft>
            </a:pPr>
            <a:r>
              <a:rPr lang="en-US" sz="2400" b="1" spc="-50" dirty="0">
                <a:solidFill>
                  <a:schemeClr val="bg1">
                    <a:lumMod val="10000"/>
                  </a:schemeClr>
                </a:solidFill>
              </a:rPr>
              <a:t>Service Management REST API</a:t>
            </a:r>
          </a:p>
        </p:txBody>
      </p:sp>
      <p:grpSp>
        <p:nvGrpSpPr>
          <p:cNvPr id="8" name="Group 7"/>
          <p:cNvGrpSpPr/>
          <p:nvPr/>
        </p:nvGrpSpPr>
        <p:grpSpPr>
          <a:xfrm>
            <a:off x="3836635" y="2719387"/>
            <a:ext cx="1348834" cy="3548291"/>
            <a:chOff x="7336020" y="2782312"/>
            <a:chExt cx="1376076" cy="3619956"/>
          </a:xfrm>
        </p:grpSpPr>
        <p:sp>
          <p:nvSpPr>
            <p:cNvPr id="40" name="Rectangle 39"/>
            <p:cNvSpPr/>
            <p:nvPr/>
          </p:nvSpPr>
          <p:spPr bwMode="auto">
            <a:xfrm>
              <a:off x="7336020" y="2782312"/>
              <a:ext cx="1376075" cy="181311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250" tIns="45626" rIns="182511" bIns="45626" numCol="1" rtlCol="0" anchor="t" anchorCtr="0" compatLnSpc="1">
              <a:prstTxWarp prst="textNoShape">
                <a:avLst/>
              </a:prstTxWarp>
            </a:bodyPr>
            <a:lstStyle/>
            <a:p>
              <a:pPr algn="ctr" defTabSz="912148" fontAlgn="base">
                <a:lnSpc>
                  <a:spcPct val="90000"/>
                </a:lnSpc>
                <a:spcBef>
                  <a:spcPct val="0"/>
                </a:spcBef>
                <a:spcAft>
                  <a:spcPct val="0"/>
                </a:spcAft>
              </a:pPr>
              <a:endParaRPr lang="en-US" sz="1567" spc="-50" dirty="0">
                <a:gradFill>
                  <a:gsLst>
                    <a:gs pos="0">
                      <a:srgbClr val="EFEFEF"/>
                    </a:gs>
                    <a:gs pos="100000">
                      <a:srgbClr val="EFEFEF"/>
                    </a:gs>
                  </a:gsLst>
                  <a:lin ang="5400000" scaled="0"/>
                </a:gradFill>
              </a:endParaRPr>
            </a:p>
            <a:p>
              <a:pPr algn="ctr" defTabSz="912148" fontAlgn="base">
                <a:lnSpc>
                  <a:spcPct val="90000"/>
                </a:lnSpc>
                <a:spcBef>
                  <a:spcPct val="0"/>
                </a:spcBef>
                <a:spcAft>
                  <a:spcPct val="0"/>
                </a:spcAft>
              </a:pPr>
              <a:r>
                <a:rPr lang="en-US" sz="1567" spc="-50" dirty="0">
                  <a:gradFill>
                    <a:gsLst>
                      <a:gs pos="0">
                        <a:srgbClr val="EFEFEF"/>
                      </a:gs>
                      <a:gs pos="100000">
                        <a:srgbClr val="EFEFEF"/>
                      </a:gs>
                    </a:gsLst>
                    <a:lin ang="5400000" scaled="0"/>
                  </a:gradFill>
                </a:rPr>
                <a:t>Virtual Networks</a:t>
              </a:r>
            </a:p>
          </p:txBody>
        </p:sp>
        <p:sp>
          <p:nvSpPr>
            <p:cNvPr id="141" name="Freeform 78"/>
            <p:cNvSpPr>
              <a:spLocks noEditPoints="1"/>
            </p:cNvSpPr>
            <p:nvPr/>
          </p:nvSpPr>
          <p:spPr bwMode="black">
            <a:xfrm>
              <a:off x="7647055" y="3576016"/>
              <a:ext cx="759022" cy="683407"/>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79003" tIns="39504" rIns="79003" bIns="39504" numCol="1" anchor="t" anchorCtr="0" compatLnSpc="1">
              <a:prstTxWarp prst="textNoShape">
                <a:avLst/>
              </a:prstTxWarp>
            </a:bodyPr>
            <a:lstStyle/>
            <a:p>
              <a:pPr defTabSz="657211"/>
              <a:endParaRPr lang="en-US" sz="686" dirty="0">
                <a:solidFill>
                  <a:srgbClr val="FFFFFF"/>
                </a:solidFill>
              </a:endParaRPr>
            </a:p>
          </p:txBody>
        </p:sp>
        <p:sp>
          <p:nvSpPr>
            <p:cNvPr id="79" name="Rectangle 78"/>
            <p:cNvSpPr/>
            <p:nvPr/>
          </p:nvSpPr>
          <p:spPr bwMode="auto">
            <a:xfrm>
              <a:off x="7336021" y="4595422"/>
              <a:ext cx="1376075" cy="1806846"/>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511" tIns="456270" rIns="182511" bIns="45626" numCol="1" rtlCol="0" anchor="t" anchorCtr="0" compatLnSpc="1">
              <a:prstTxWarp prst="textNoShape">
                <a:avLst/>
              </a:prstTxWarp>
            </a:bodyPr>
            <a:lstStyle/>
            <a:p>
              <a:pPr algn="ctr" defTabSz="912148" fontAlgn="base">
                <a:spcBef>
                  <a:spcPct val="0"/>
                </a:spcBef>
                <a:spcAft>
                  <a:spcPct val="0"/>
                </a:spcAft>
              </a:pPr>
              <a:endParaRPr lang="en-US" sz="1371" b="1" kern="0" spc="-50" dirty="0">
                <a:solidFill>
                  <a:schemeClr val="bg1">
                    <a:lumMod val="10000"/>
                  </a:schemeClr>
                </a:solidFill>
                <a:ea typeface="Segoe UI" pitchFamily="34" charset="0"/>
                <a:cs typeface="Segoe UI" pitchFamily="34" charset="0"/>
              </a:endParaRPr>
            </a:p>
            <a:p>
              <a:pPr algn="ctr" defTabSz="912148" fontAlgn="base">
                <a:spcBef>
                  <a:spcPct val="0"/>
                </a:spcBef>
                <a:spcAft>
                  <a:spcPct val="0"/>
                </a:spcAft>
              </a:pPr>
              <a:r>
                <a:rPr lang="en-US" sz="1371" b="1" kern="0" spc="-50" dirty="0">
                  <a:solidFill>
                    <a:schemeClr val="bg1">
                      <a:lumMod val="10000"/>
                    </a:schemeClr>
                  </a:solidFill>
                  <a:ea typeface="Segoe UI" pitchFamily="34" charset="0"/>
                  <a:cs typeface="Segoe UI" pitchFamily="34" charset="0"/>
                </a:rPr>
                <a:t>Virtual Networking</a:t>
              </a:r>
            </a:p>
          </p:txBody>
        </p:sp>
      </p:grpSp>
      <p:grpSp>
        <p:nvGrpSpPr>
          <p:cNvPr id="9" name="Group 8"/>
          <p:cNvGrpSpPr/>
          <p:nvPr/>
        </p:nvGrpSpPr>
        <p:grpSpPr>
          <a:xfrm>
            <a:off x="6710268" y="2720426"/>
            <a:ext cx="1348834" cy="3555575"/>
            <a:chOff x="9644227" y="2782347"/>
            <a:chExt cx="1376076" cy="3627387"/>
          </a:xfrm>
        </p:grpSpPr>
        <p:sp>
          <p:nvSpPr>
            <p:cNvPr id="118" name="Rectangle 117"/>
            <p:cNvSpPr/>
            <p:nvPr/>
          </p:nvSpPr>
          <p:spPr bwMode="auto">
            <a:xfrm>
              <a:off x="9644227" y="2782347"/>
              <a:ext cx="1376075" cy="182054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250" tIns="45626" rIns="182511" bIns="45626" numCol="1" rtlCol="0" anchor="t" anchorCtr="0" compatLnSpc="1">
              <a:prstTxWarp prst="textNoShape">
                <a:avLst/>
              </a:prstTxWarp>
            </a:bodyPr>
            <a:lstStyle/>
            <a:p>
              <a:pPr algn="ctr" defTabSz="912148" fontAlgn="base">
                <a:lnSpc>
                  <a:spcPct val="90000"/>
                </a:lnSpc>
                <a:spcBef>
                  <a:spcPct val="0"/>
                </a:spcBef>
                <a:spcAft>
                  <a:spcPct val="0"/>
                </a:spcAft>
              </a:pPr>
              <a:endParaRPr lang="en-US" sz="1567" spc="-50" dirty="0">
                <a:gradFill>
                  <a:gsLst>
                    <a:gs pos="0">
                      <a:srgbClr val="EFEFEF"/>
                    </a:gs>
                    <a:gs pos="100000">
                      <a:srgbClr val="EFEFEF"/>
                    </a:gs>
                  </a:gsLst>
                  <a:lin ang="5400000" scaled="0"/>
                </a:gradFill>
              </a:endParaRPr>
            </a:p>
            <a:p>
              <a:pPr algn="ctr" defTabSz="912148" fontAlgn="base">
                <a:lnSpc>
                  <a:spcPct val="90000"/>
                </a:lnSpc>
                <a:spcBef>
                  <a:spcPct val="0"/>
                </a:spcBef>
                <a:spcAft>
                  <a:spcPct val="0"/>
                </a:spcAft>
              </a:pPr>
              <a:r>
                <a:rPr lang="en-US" sz="1567" spc="-50" dirty="0">
                  <a:gradFill>
                    <a:gsLst>
                      <a:gs pos="0">
                        <a:srgbClr val="EFEFEF"/>
                      </a:gs>
                      <a:gs pos="100000">
                        <a:srgbClr val="EFEFEF"/>
                      </a:gs>
                    </a:gsLst>
                    <a:lin ang="5400000" scaled="0"/>
                  </a:gradFill>
                </a:rPr>
                <a:t>Database</a:t>
              </a:r>
            </a:p>
          </p:txBody>
        </p:sp>
        <p:sp>
          <p:nvSpPr>
            <p:cNvPr id="142" name="Freeform 30"/>
            <p:cNvSpPr>
              <a:spLocks noEditPoints="1"/>
            </p:cNvSpPr>
            <p:nvPr/>
          </p:nvSpPr>
          <p:spPr bwMode="auto">
            <a:xfrm flipH="1">
              <a:off x="9982943" y="3544529"/>
              <a:ext cx="698641" cy="746383"/>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87801" tIns="43901" rIns="87801" bIns="43901" numCol="1" anchor="t" anchorCtr="0" compatLnSpc="1">
              <a:prstTxWarp prst="textNoShape">
                <a:avLst/>
              </a:prstTxWarp>
            </a:bodyPr>
            <a:lstStyle/>
            <a:p>
              <a:pPr defTabSz="895279"/>
              <a:endParaRPr lang="en-US" sz="1371">
                <a:solidFill>
                  <a:srgbClr val="505050"/>
                </a:solidFill>
              </a:endParaRPr>
            </a:p>
          </p:txBody>
        </p:sp>
        <p:sp>
          <p:nvSpPr>
            <p:cNvPr id="80" name="Rectangle 79"/>
            <p:cNvSpPr/>
            <p:nvPr/>
          </p:nvSpPr>
          <p:spPr bwMode="auto">
            <a:xfrm>
              <a:off x="9644228" y="4602888"/>
              <a:ext cx="1376075" cy="1806846"/>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511" tIns="456270" rIns="182511" bIns="45626" numCol="1" rtlCol="0" anchor="t" anchorCtr="0" compatLnSpc="1">
              <a:prstTxWarp prst="textNoShape">
                <a:avLst/>
              </a:prstTxWarp>
            </a:bodyPr>
            <a:lstStyle/>
            <a:p>
              <a:pPr algn="ctr" defTabSz="912148" fontAlgn="base">
                <a:spcBef>
                  <a:spcPct val="0"/>
                </a:spcBef>
                <a:spcAft>
                  <a:spcPct val="0"/>
                </a:spcAft>
              </a:pPr>
              <a:endParaRPr lang="en-US" sz="1400" b="1" kern="0" spc="-50" dirty="0">
                <a:solidFill>
                  <a:schemeClr val="bg1">
                    <a:lumMod val="10000"/>
                  </a:schemeClr>
                </a:solidFill>
                <a:ea typeface="Segoe UI" pitchFamily="34" charset="0"/>
                <a:cs typeface="Segoe UI" pitchFamily="34" charset="0"/>
              </a:endParaRPr>
            </a:p>
            <a:p>
              <a:pPr algn="ctr" defTabSz="912148" fontAlgn="base">
                <a:spcBef>
                  <a:spcPct val="0"/>
                </a:spcBef>
                <a:spcAft>
                  <a:spcPct val="0"/>
                </a:spcAft>
              </a:pPr>
              <a:r>
                <a:rPr lang="en-US" sz="1400" b="1" kern="0" spc="-50" dirty="0">
                  <a:solidFill>
                    <a:schemeClr val="bg1">
                      <a:lumMod val="10000"/>
                    </a:schemeClr>
                  </a:solidFill>
                  <a:ea typeface="Segoe UI" pitchFamily="34" charset="0"/>
                  <a:cs typeface="Segoe UI" pitchFamily="34" charset="0"/>
                </a:rPr>
                <a:t>SQL Server &amp; MySQL Database</a:t>
              </a:r>
            </a:p>
          </p:txBody>
        </p:sp>
      </p:grpSp>
      <p:sp>
        <p:nvSpPr>
          <p:cNvPr id="3" name="AutoShape 8" descr="data:image/jpeg;base64,/9j/4AAQSkZJRgABAQAAAQABAAD/2wCEAAkGBxMQEhISExMWEhUVFhgZGBYYFhYSFhUgHRgXFxYWFhYfHSkhGBolHRYVIjEhJSkrLy4uGB8zODMsNygtLisBCgoKDg0OGxAQGy0lICQrNzgzLTcwKy0wMzE3LS03Ny0vKzE3LS03OCsrMTctLTgtKzctKy00LS0tKy0rLy8tLf/AABEIAHoBngMBIgACEQEDEQH/xAAcAAEAAgMBAQEAAAAAAAAAAAAABgcDBAUBAgj/xABMEAABAwIBBgkHCAcGBwAAAAABAAIDBBEhBQYHEjFREzRBYXFzgZGyIjNSobGzwRQyQnJ0goPRI0RTYpKTwhY1VaLh4xUXJCVD0vD/xAAaAQEAAwEBAQAAAAAAAAAAAAAAAwQFAgYB/8QAKxEBAAICAQMDAwIHAAAAAAAAAAECAxEEBSFBEjFRE6HRkbEGFCIkQlKB/9oADAMBAAIRAxEAPwC8UREBEUN0i5UfG2OFh1eEDi8jbYWAb0G57l3jpN7RWHGS8UrNpd2tzjpYSQ6ZtxyN8o+pcyTPykGzhHdDLe1cHJ+Yj5YWyGUMc5us1urcYi4u6/wUNnYWOc12BaSCNxBsR3hXKcfFbcRO9Kd+RlrqZjW1mtz/AKTl4Qfc/wBVv0ed1HKbCYNJ9IFnrKpxxWNxXc8SnjbiOXfzp+gwUVaaNcvvEnyR51mOBMd/okYlo5iOTmVlqjkxzS2pXseSL13AiIo0giIgIiICIiAiIgIiICIiAiIgIsFZWRwt1pHtjbvcQ3u3rBknK0VU1z4Xa7WvLCbEC4DXYX2izgg3lGM787hQOYwRGR726wu7VaMbY4Ek83rUnVX6WfPwdUfEUE0zOyw+sp+GkDQS9ws29gBa21dxRLRhxIdY/wCClqAiIgIiICIiAiIgIiICIiAiLxxw38yD1FzIcquc97OBeDHq6xLo7C4JGx2OAWD+0sXyX5Xqv1b21LDXuHFpFr2wsTt2C6DtIvGOuAd69QEREBEXFy5nNDSHVcS9/oNxI6TsC6rWbTqHNrRWNy7SrrSaf00PVnxFbL9Iu6muOeW39C0K7PSKYgyULJCBYF0t7c3m1aw4clLeqY/ZVzZsd6+mJ+0sVDn1NDCItRji0Wa8k4AbLt5bdIUSmlLiXE3JJJO8k3JUnOc9L/hsX8z/AG18HOil/wANi/mf7as13XcxT7wrWmLaib/afwirisbnLLVShz3uDdQOc4hoxDQSSGg8ttnYtdxUyF3cxnf9fTfWd4Hq7VR2Yp/7hS/Wd7t6uV9dYkauw7/9Fk9Rz48Vom863DS4VZtWdfLcRakdcDtFvWttVcWfHljdJ2t2rNfcREUrkRFwMvZ3U1GS1zteQfQZYkdJ2N7UHfRVlPpInebQ07R060ru4WWD/mHWMPlxR9DmPYezykFqIo3mvnhFW+RbgpfQJuHb9R3L0bVJEBFG87M7W0Ba3gzI97SRiGtFjbE4n1LYzOyy+tgMzw1p13NAbewAtbby4oO4iLwoPUVfU2kV75mRfJ2gOlay/CHC7w29tXnU3yrV8BBNMBrGON77XtfVaXWvybEED0u/qv4n9C6Oifikv2h3u4lCs6s53V/B60Qj4PW2OLr3tzC2xZ8188XUETomwiTWkL7l5ba7WttbVPo+tBcaq/Sz5+Dqj4ipnmfl418L5TGI9WQssHa17NY697D0vUoZpZ8/B1R8RQSPRhxIdY/4KWqCZjZXhpcnh8zwwcI+w2uds+a3aVhrtJzAbRQF43vfqf5QCgsFFXNHpONxwtONXlLH3I+6Rj3qd5LylHUxiWJwc094PKCOQ8yDbRFycv5wQ0TdaV3lH5rBi53QOQc5QdZFV1XpJqHm0ULGDkvrSO9Vh6l5TaSKlhtLFG8coGtG7vxHqQWki42bucsFa39GdV4+dG6wcOfnHOF2UBFhrKtkLS+R4Y0bS42ChWVNJMTCWwRGU+k46jewWJPqQTtFVk+ftfbW4FrG7+Dkt3krZyZpMfcCeFpb6UZII+6Sb94QWUi18n10dRG2WJwex2wj1g7iNy2EHOio3CWpfhaQMDcdzSDfdiVxHZvzaj2eTqmAlovsldFwLvu2F773lSxEHzGLADcAvpEQEREGhlyv+TwSS8rW4c5OA9apyaUuJc4kuJuSdpO9WNpIn1aZjfTkF+wE+0BVm4rS4ddU38s3l23fXw8cVjcV64rE4q0qjisbihKxuXx9eOKxuK9cvGsJNgCTuAJPcj67uYTb5QpuZzj/AJHK2Zj5TukqJZgZtvpr1U7dR5bqxsODhfa5w5OhSdzl5H+IORS160ie8Nzp2Ka0mZ8vSV0snS6zbbv/AILkkrcyS/yiN4WT07NNeREfPZdzV3SXVREXqVBzM5ah0dJUPYdVzY3EEbQbbQqjzOoWVNZHHKC9rtYkXPlEAnE8uKtjO7iVT1TvYqw0d8fi6H+EoLgpaSOJurGxrG7mgAL4yhQR1DDHKwPaeQ8nODyHnWyiCissUT6CqcxriHRuDmO5bbWlXLkDKQqqeKYYa7cRuIwcO8FV3pXhtVRO9KIX7HOx7iO5dzRPUXp5mH6EtxzBzW4d4Peg5Glrz8HVnxKQ6L+Jfiv+Cj2lrz8HVnxKQ6L+Jfiv+CCXLx2xerx2xBQ+TuORfaWe9CvhwvgcQVQ+TuORfaWe9CvlBW+lmJrfk2q0DzmwAegt/RVC11LKS0H9O7aAf/HEtPS5+q/if0LoaJ+KS/aHe7iQTOOMNwAA6BZVjpZ8/B1R8RVoKr9LPn4OqPiKDWzLzOFY3hpXkRhxaGt+c6225+iMenoVkUWQqaEascLB90OJ6ScVw9GHEh1j/gpaggekPNiLgXVMTAx8eLw0WDm3sSRvG2/SuFowyk6Oq4G/kytOH7zQXA9wcrGzo4nV/Z5fduVUZg/3hTdL/dSILgynWtp4pJn/ADWNLjz7gOcmw7VTMQlypWAOPlSuxO0RtGJtzAX7elT/AEpVBbSBo+nI0Hsu74BR7RRCDUTP5WxgD7zsfYgsPJGR4aRgZEwN3u+k7nc7lXuVskQ1TCyVgcCMD9JvO120LeRBRtfTy5NqyGus+JwLXekDiL8xGBHSrkyHlJtVBHM3APGI3EYOHYQQoBpapwJaeTlcxzT90gjxFdTRPUEwTM5GyXH3mj/1QRnSXUvdWuYXEtY1mq2+DbtBJA3qdZkZHhipoJWxjhJI2uc84uuQCbE7BzBQDSPx+X6sfgCs7NLiVL1MfhCDrFVppLzejiDamJoZrO1XtAs25uQ4DkOBBVlqJ6TuJHrGe0oOHolq3a08V/Js14G43sfVbuVkKr9E3n5+rHiVoICIiAiIgIiIIZpPZ+hhdukt3tP5KtnFW5n3ScLRyWFyyzx2HH1XVPuK0+JO8emZyq6ybHFSfM7NYVQM0xLYWmwAwMh5QDyNHMoo4q5MmRCOlpmN2cE09pAJ9pUHUuVPHwTavu64eGMuTU+zLTwQxDVjhjYB+6Ce9ZeFH7OP+FY14SvGW5/ImdzeW9GGkeGUyj9nH/CvBU2xDWNO8NsVgJXwSorc/P8A7y6jDT4fckpcbk3WMleEr5JVG95mdynir0lbeSfn9hWgSupkSPBzuwfFWenVm/JpEeO7jP2xy6iIi9izHIzu4lU9U72KsNHfH4uh/hKs/O7iVT1TvYqtzBmaythL3Bo8oXcQ0XLSALnlKC6UReOcACSbAYknADnKCr9LLx8ogHKIie9xt7CunokYeCqHchkaO5tz4godnllUVdVJI03YLMYd4HKOkkntVoZjZLNNSRtcLPeS9w3F1rDsAaOxBD9LXn4OrPiUh0X8S/Ff8Fw9LcB16eS3klrm35AbggdxPct3RVlNhikpyQHh5e0bNZpAvbfYg94QT1eO2L1YqmZsbXOe4MaBcucQ0DpJQUXk7jkX2lnvQr5VC5MN6uEjYaiP3oV9IK60ufqv4n9C6Gifikv2h3u4loaXGm1KeS8gv/D+RW5omePk0zeUTk9hjjA8JQThVfpZ8/B1R8RVoKr9LPn4OqPiKCR6MOJDrH/BS1RLRhxIdY/4KWoOZnPxOr+zze7cqozB/vCm6X+6kVr5z8Tq/s83u3KqMwf7wpul/upEE30qQk0rHejKPWCFwdE0oE87eV0YI7HY+1WBnDk0VVPLDyub5J3OGLT3gKoM2680NYxzwW6riyQHkBwd3YHsQXgi+Y3hwDgQQRcEYg7iF6TZBW+lyQa9M3l1Xn1tA+K3dEsREM7+R0gHc3HxBRPPbKfyyscY/Ka20bLY61ibkb7uJ9StHNTJXySljiPzraz/AKzsT3bOxBWWkfj8v1Y/AFZ2aXEqXqY/CFWOkfj8v1Y/AFZ2aXEqXqY/CEHWUT0ncSPWM9pUsUT0ncSPWM9pQRvRN5+fqx4laCq/RN5+fqx4laCAiIgIiICIiD5ewOBBFwRYjfvCqfOXM2aneTCx00ROGqC9zf3XNGJ6VbSKXFltjnsiy4q5I7qCfk6f9jL/AC3/AJK4acEQ04IsRCy4OBHkhdxc3Kh8odCpdYz/AFOPPbyk4eD6d/dqkr4JXhK+SV5CbNWIfeodx7ivksd6J7isor3gWB2cwXn/ABCXf6h+Sl/tp/yt+kfl8/r+IYTG70T3FfBjd6J7it6jr3ue1pOBO4biuwrfF6di5NZtS89p13iPy4yZ7Y51MI5DRvebapHORYLvwRBjQ0ciyItjhdPx8XcxO5nyq5c05BERX0LkZ3cSqeqd7FT2b2Svlc7YNbU1g6xtfYL4hXDndxKp6p3sVYaO+PxdD/CUHSdTZXoPJYXyMGwtHDt/hIJHctCvrsp1g4N7JnA4FrYnMb96wGHSrjRBXeaOYbmPbNVWGqQWxYOx5C87MNwViIiDQy3kmOridFIMDsI2tPI4c6qrKWaFbSP1o2OkAN2yRXJ5vJHlAq5EQVTS5ayxYNayZ3O6nv3uLfas39l8pVxBqZNRu57gbdDG4K0F8yPDQScAASTuQURk6LUrImA31aljb7L2lAvbsV8qj82mcPXwEcs4k/hdwn9KvBByc5shtrYTE46pBux23VI2dnIVXNNkvKWTJC6KNzgcDqN4ZjxyXaMR6lbiIOJmllGoqIXPqYuBeJC0N1Hx3Gq0h1nG+0uHYo1pIyJUVM0LoYnSBsZBILRY6xNsSrARBG8wKCSnpBHKwxu13mxtextY4FSREQaGcELpKWpYwaznwyNaN5LHADvKrnM3NurhrYJJIHMY0vu4ltheN4Gw7yFaqICiGeOZbasmaIhk1sb/ADZN19zudS9EFTUU+Vcn/o2xSOYNjTGZmD6rm7Oi6+6utytXDguCkY04ECMwtPS93JzXVrIgheZ+ZApXCach8o+a0YsZz87ufkU0REFX585u1U9ZJJFC57C1lnAtsbNAO0qfZtwOjpadjxqubEwOB2ghoBC6SICjef8AQSVFIY4mF7tdpsLXsL3OJUkRBX+jjIlRTTTOmidGHMABJabm+zAqwERAREQEREBERAREQFzsrN+aeTYuivl7A4WIuFX5WD6+KaO8d/TbaPEr4JXSnyWfonsP5rSfRSD6J7LFeTzcPkY570n/AJ3/AGaNMlLeWAld2jlZwYxAAGPxuuO2ikP0D7PatmHJLj84hvrKsdP/AJnFeZpjmdx57fdzm+naNTZ8ZOZrS3GwEnoGNl3VhpqdsYs0dJ5Ssy3+BxZ4+L0295ncqWbJ67bgREV1EIiIORndxKp6p3sVYaO+PxdD/CVb9dSNmjfE8Xa8FpsbGx51GMk5jspalk8UpLW612OAJxFsHD8kEuREQEREBeEr1Ya2nEsb43bHtc09BBB9qDVrct00PnJ42cxeNbsbtKgmeGfTZmOgpr6rxZ0hBFwcC1o247ystNow9Oow/dZ+ZUlyNmbS0pDmsMjx9OQ6xHQNg7roI/o2zbfGTVStLSRaNpFjY7Xkcm4dqsFEQEREBERAREQEREBERAREQEREBERAREQEREBERAREQEREBERARF8uCD2681gsTmlfBYUGxrhe6y1tQr6awoNhF8NaV9oCIiAiIgIiICIiAiIgIiICIiAiIgIiICIiAiIgIiICIiAiIgIiICIiAiIgIiICIiAiIgIiICIiAiIgIiICIiAiIgIiICIiAiIgIiICIiAiIgIiICIiAiIgIiICIiAiIgIiICIiAiIgIiICIiAiIgIiICIiAiIg/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47915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a:spLocks noGrp="1"/>
          </p:cNvSpPr>
          <p:nvPr>
            <p:ph type="title"/>
          </p:nvPr>
        </p:nvSpPr>
        <p:spPr/>
        <p:txBody>
          <a:bodyPr/>
          <a:lstStyle/>
          <a:p>
            <a:r>
              <a:rPr lang="ko-KR" altLang="en-US" dirty="0" smtClean="0"/>
              <a:t>실습</a:t>
            </a:r>
            <a:r>
              <a:rPr lang="en-US" altLang="ko-KR" dirty="0" smtClean="0"/>
              <a:t>: Ubuntu </a:t>
            </a:r>
            <a:endParaRPr lang="ko-KR" altLang="en-US" dirty="0"/>
          </a:p>
        </p:txBody>
      </p:sp>
      <p:sp>
        <p:nvSpPr>
          <p:cNvPr id="4" name="텍스트 개체 틀 3"/>
          <p:cNvSpPr>
            <a:spLocks noGrp="1"/>
          </p:cNvSpPr>
          <p:nvPr>
            <p:ph type="body" sz="quarter" idx="14"/>
          </p:nvPr>
        </p:nvSpPr>
        <p:spPr/>
        <p:txBody>
          <a:bodyPr/>
          <a:lstStyle/>
          <a:p>
            <a:r>
              <a:rPr lang="en-US" altLang="ko-KR" dirty="0" smtClean="0"/>
              <a:t>Node.js Server Setting</a:t>
            </a:r>
            <a:endParaRPr lang="ko-KR" altLang="en-US" dirty="0"/>
          </a:p>
        </p:txBody>
      </p:sp>
    </p:spTree>
    <p:extLst>
      <p:ext uri="{BB962C8B-B14F-4D97-AF65-F5344CB8AC3E}">
        <p14:creationId xmlns:p14="http://schemas.microsoft.com/office/powerpoint/2010/main" val="1573045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24655" y="569626"/>
            <a:ext cx="11462818" cy="3517886"/>
          </a:xfrm>
          <a:prstGeom prst="rect">
            <a:avLst/>
          </a:prstGeom>
          <a:noFill/>
        </p:spPr>
        <p:txBody>
          <a:bodyPr wrap="none" lIns="182880" tIns="146304" rIns="182880" bIns="146304" rtlCol="0">
            <a:spAutoFit/>
          </a:bodyPr>
          <a:lstStyle/>
          <a:p>
            <a:pPr>
              <a:lnSpc>
                <a:spcPct val="90000"/>
              </a:lnSpc>
              <a:spcAft>
                <a:spcPts val="600"/>
              </a:spcAft>
            </a:pPr>
            <a:r>
              <a:rPr lang="en-US" altLang="ko-KR" sz="5400" dirty="0" smtClean="0">
                <a:gradFill>
                  <a:gsLst>
                    <a:gs pos="2917">
                      <a:schemeClr val="tx1"/>
                    </a:gs>
                    <a:gs pos="30000">
                      <a:schemeClr val="tx1"/>
                    </a:gs>
                  </a:gsLst>
                  <a:lin ang="5400000" scaled="0"/>
                </a:gradFill>
              </a:rPr>
              <a:t>Azure </a:t>
            </a:r>
            <a:r>
              <a:rPr lang="ko-KR" altLang="en-US" sz="5400" dirty="0" smtClean="0">
                <a:gradFill>
                  <a:gsLst>
                    <a:gs pos="2917">
                      <a:schemeClr val="tx1"/>
                    </a:gs>
                    <a:gs pos="30000">
                      <a:schemeClr val="tx1"/>
                    </a:gs>
                  </a:gsLst>
                  <a:lin ang="5400000" scaled="0"/>
                </a:gradFill>
              </a:rPr>
              <a:t>활성화</a:t>
            </a:r>
            <a:endParaRPr lang="en-US" altLang="ko-KR" sz="5400" dirty="0" smtClean="0">
              <a:gradFill>
                <a:gsLst>
                  <a:gs pos="2917">
                    <a:schemeClr val="tx1"/>
                  </a:gs>
                  <a:gs pos="30000">
                    <a:schemeClr val="tx1"/>
                  </a:gs>
                </a:gsLst>
                <a:lin ang="5400000" scaled="0"/>
              </a:gradFill>
            </a:endParaRPr>
          </a:p>
          <a:p>
            <a:pPr>
              <a:lnSpc>
                <a:spcPct val="90000"/>
              </a:lnSpc>
              <a:spcAft>
                <a:spcPts val="600"/>
              </a:spcAft>
            </a:pPr>
            <a:r>
              <a:rPr lang="en-US" altLang="ko-KR" sz="5400" dirty="0">
                <a:gradFill>
                  <a:gsLst>
                    <a:gs pos="2917">
                      <a:schemeClr val="tx1"/>
                    </a:gs>
                    <a:gs pos="30000">
                      <a:schemeClr val="tx1"/>
                    </a:gs>
                  </a:gsLst>
                  <a:lin ang="5400000" scaled="0"/>
                </a:gradFill>
                <a:hlinkClick r:id="rId2"/>
              </a:rPr>
              <a:t>http://</a:t>
            </a:r>
            <a:r>
              <a:rPr lang="en-US" altLang="ko-KR" sz="5400" dirty="0" smtClean="0">
                <a:gradFill>
                  <a:gsLst>
                    <a:gs pos="2917">
                      <a:schemeClr val="tx1"/>
                    </a:gs>
                    <a:gs pos="30000">
                      <a:schemeClr val="tx1"/>
                    </a:gs>
                  </a:gsLst>
                  <a:lin ang="5400000" scaled="0"/>
                </a:gradFill>
                <a:hlinkClick r:id="rId2"/>
              </a:rPr>
              <a:t>www.microsoftazurepass.com</a:t>
            </a:r>
            <a:r>
              <a:rPr lang="en-US" altLang="ko-KR" sz="5400" dirty="0" smtClean="0">
                <a:gradFill>
                  <a:gsLst>
                    <a:gs pos="2917">
                      <a:schemeClr val="tx1"/>
                    </a:gs>
                    <a:gs pos="30000">
                      <a:schemeClr val="tx1"/>
                    </a:gs>
                  </a:gsLst>
                  <a:lin ang="5400000" scaled="0"/>
                </a:gradFill>
              </a:rPr>
              <a:t> </a:t>
            </a:r>
            <a:endParaRPr lang="en-US" altLang="ko-KR" sz="5400" dirty="0">
              <a:gradFill>
                <a:gsLst>
                  <a:gs pos="2917">
                    <a:schemeClr val="tx1"/>
                  </a:gs>
                  <a:gs pos="30000">
                    <a:schemeClr val="tx1"/>
                  </a:gs>
                </a:gsLst>
                <a:lin ang="5400000" scaled="0"/>
              </a:gradFill>
            </a:endParaRPr>
          </a:p>
          <a:p>
            <a:pPr>
              <a:lnSpc>
                <a:spcPct val="90000"/>
              </a:lnSpc>
              <a:spcAft>
                <a:spcPts val="600"/>
              </a:spcAft>
            </a:pPr>
            <a:r>
              <a:rPr lang="ko-KR" altLang="en-US" sz="5400" dirty="0" smtClean="0">
                <a:gradFill>
                  <a:gsLst>
                    <a:gs pos="2917">
                      <a:schemeClr val="tx1"/>
                    </a:gs>
                    <a:gs pos="30000">
                      <a:schemeClr val="tx1"/>
                    </a:gs>
                  </a:gsLst>
                  <a:lin ang="5400000" scaled="0"/>
                </a:gradFill>
              </a:rPr>
              <a:t>오늘 자료 다운로드 </a:t>
            </a:r>
            <a:endParaRPr lang="en-US" altLang="ko-KR" sz="5400" dirty="0" smtClean="0">
              <a:gradFill>
                <a:gsLst>
                  <a:gs pos="2917">
                    <a:schemeClr val="tx1"/>
                  </a:gs>
                  <a:gs pos="30000">
                    <a:schemeClr val="tx1"/>
                  </a:gs>
                </a:gsLst>
                <a:lin ang="5400000" scaled="0"/>
              </a:gradFill>
            </a:endParaRPr>
          </a:p>
          <a:p>
            <a:pPr>
              <a:lnSpc>
                <a:spcPct val="90000"/>
              </a:lnSpc>
              <a:spcAft>
                <a:spcPts val="600"/>
              </a:spcAft>
            </a:pPr>
            <a:r>
              <a:rPr lang="en-US" altLang="ko-KR" sz="5400" dirty="0">
                <a:gradFill>
                  <a:gsLst>
                    <a:gs pos="2917">
                      <a:schemeClr val="tx1"/>
                    </a:gs>
                    <a:gs pos="30000">
                      <a:schemeClr val="tx1"/>
                    </a:gs>
                  </a:gsLst>
                  <a:lin ang="5400000" scaled="0"/>
                </a:gradFill>
                <a:hlinkClick r:id="rId3"/>
              </a:rPr>
              <a:t>http://</a:t>
            </a:r>
            <a:r>
              <a:rPr lang="en-US" altLang="ko-KR" sz="5400" dirty="0" smtClean="0">
                <a:gradFill>
                  <a:gsLst>
                    <a:gs pos="2917">
                      <a:schemeClr val="tx1"/>
                    </a:gs>
                    <a:gs pos="30000">
                      <a:schemeClr val="tx1"/>
                    </a:gs>
                  </a:gsLst>
                  <a:lin ang="5400000" scaled="0"/>
                </a:gradFill>
                <a:hlinkClick r:id="rId3"/>
              </a:rPr>
              <a:t>1drv.ms/1b1bvRX</a:t>
            </a:r>
            <a:r>
              <a:rPr lang="en-US" altLang="ko-KR" sz="5400" dirty="0" smtClean="0">
                <a:gradFill>
                  <a:gsLst>
                    <a:gs pos="2917">
                      <a:schemeClr val="tx1"/>
                    </a:gs>
                    <a:gs pos="30000">
                      <a:schemeClr val="tx1"/>
                    </a:gs>
                  </a:gsLst>
                  <a:lin ang="5400000" scaled="0"/>
                </a:gradFill>
              </a:rPr>
              <a:t> </a:t>
            </a:r>
            <a:endParaRPr lang="ko-KR" altLang="en-US" sz="5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308064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95386" y="470886"/>
            <a:ext cx="9173444" cy="1558636"/>
          </a:xfrm>
        </p:spPr>
        <p:txBody>
          <a:bodyPr>
            <a:noAutofit/>
          </a:bodyPr>
          <a:lstStyle/>
          <a:p>
            <a:pPr algn="l"/>
            <a:r>
              <a:rPr lang="en-US" sz="7200" dirty="0" smtClean="0">
                <a:latin typeface="HY견고딕" panose="02030600000101010101" pitchFamily="18" charset="-127"/>
                <a:ea typeface="HY견고딕" panose="02030600000101010101" pitchFamily="18" charset="-127"/>
              </a:rPr>
              <a:t>Azure Web App</a:t>
            </a:r>
            <a:endParaRPr lang="en-US" sz="7200" dirty="0">
              <a:solidFill>
                <a:schemeClr val="bg1"/>
              </a:solidFill>
              <a:latin typeface="HY견고딕" panose="02030600000101010101" pitchFamily="18" charset="-127"/>
              <a:ea typeface="HY견고딕" panose="02030600000101010101" pitchFamily="18" charset="-127"/>
            </a:endParaRPr>
          </a:p>
        </p:txBody>
      </p:sp>
    </p:spTree>
    <p:extLst>
      <p:ext uri="{BB962C8B-B14F-4D97-AF65-F5344CB8AC3E}">
        <p14:creationId xmlns:p14="http://schemas.microsoft.com/office/powerpoint/2010/main" val="3945581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684743" y="923543"/>
            <a:ext cx="10822515" cy="5594508"/>
            <a:chOff x="607484" y="923543"/>
            <a:chExt cx="10822515" cy="5594508"/>
          </a:xfrm>
        </p:grpSpPr>
        <p:sp>
          <p:nvSpPr>
            <p:cNvPr id="61" name="Rectangle 60"/>
            <p:cNvSpPr/>
            <p:nvPr/>
          </p:nvSpPr>
          <p:spPr bwMode="auto">
            <a:xfrm>
              <a:off x="607484" y="923543"/>
              <a:ext cx="10822515"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marL="0" marR="0" lvl="0" indent="0" algn="ctr" defTabSz="761162"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 name="Group 3"/>
            <p:cNvGrpSpPr/>
            <p:nvPr/>
          </p:nvGrpSpPr>
          <p:grpSpPr>
            <a:xfrm>
              <a:off x="4515453" y="1655615"/>
              <a:ext cx="3161094" cy="4651855"/>
              <a:chOff x="3261286" y="1679022"/>
              <a:chExt cx="3161094" cy="4651855"/>
            </a:xfrm>
          </p:grpSpPr>
          <p:sp>
            <p:nvSpPr>
              <p:cNvPr id="64" name="Rectangle 63"/>
              <p:cNvSpPr/>
              <p:nvPr/>
            </p:nvSpPr>
            <p:spPr>
              <a:xfrm>
                <a:off x="3829648"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098" rtl="0" eaLnBrk="1" fontAlgn="base" latinLnBrk="0" hangingPunct="1">
                  <a:lnSpc>
                    <a:spcPct val="100000"/>
                  </a:lnSpc>
                  <a:spcBef>
                    <a:spcPts val="0"/>
                  </a:spcBef>
                  <a:spcAft>
                    <a:spcPct val="0"/>
                  </a:spcAft>
                  <a:buClrTx/>
                  <a:buSzTx/>
                  <a:buFontTx/>
                  <a:buNone/>
                  <a:tabLst/>
                  <a:defRPr/>
                </a:pPr>
                <a:r>
                  <a:rPr kumimoji="0" lang="en-US" sz="1799"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Infrastructure</a:t>
                </a:r>
              </a:p>
              <a:p>
                <a:pPr marL="0" marR="0" lvl="1" indent="0" algn="l" defTabSz="1218098"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as a Service)</a:t>
                </a:r>
              </a:p>
            </p:txBody>
          </p:sp>
          <p:sp>
            <p:nvSpPr>
              <p:cNvPr id="65" name="Rectangle 64"/>
              <p:cNvSpPr/>
              <p:nvPr/>
            </p:nvSpPr>
            <p:spPr>
              <a:xfrm>
                <a:off x="3979923" y="5495396"/>
                <a:ext cx="1637582"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9923" y="5040760"/>
                <a:ext cx="1637582"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9923" y="5950030"/>
                <a:ext cx="1637582"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9923" y="4131488"/>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9923" y="3676851"/>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9923" y="4586124"/>
                <a:ext cx="1637582"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9923" y="2767580"/>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9923" y="2312944"/>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9923" y="3222216"/>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6733" y="4545031"/>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819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5" name="TextBox 56"/>
              <p:cNvSpPr txBox="1"/>
              <p:nvPr/>
            </p:nvSpPr>
            <p:spPr>
              <a:xfrm rot="10800000" flipH="1">
                <a:off x="5800120"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09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naged by vendor</a:t>
                </a:r>
              </a:p>
            </p:txBody>
          </p:sp>
          <p:sp>
            <p:nvSpPr>
              <p:cNvPr id="76" name="Left Brace 75"/>
              <p:cNvSpPr/>
              <p:nvPr/>
            </p:nvSpPr>
            <p:spPr>
              <a:xfrm>
                <a:off x="3793878" y="2312943"/>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819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7" name="TextBox 58"/>
              <p:cNvSpPr txBox="1"/>
              <p:nvPr/>
            </p:nvSpPr>
            <p:spPr>
              <a:xfrm>
                <a:off x="3261286"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09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u scale, make </a:t>
                </a:r>
              </a:p>
              <a:p>
                <a:pPr marL="0" marR="0" lvl="1" indent="0" algn="ctr" defTabSz="121809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ilient &amp; manage</a:t>
                </a:r>
              </a:p>
            </p:txBody>
          </p:sp>
        </p:grpSp>
        <p:grpSp>
          <p:nvGrpSpPr>
            <p:cNvPr id="3" name="Group 2"/>
            <p:cNvGrpSpPr/>
            <p:nvPr/>
          </p:nvGrpSpPr>
          <p:grpSpPr>
            <a:xfrm>
              <a:off x="8001146" y="1617226"/>
              <a:ext cx="2968577" cy="4675387"/>
              <a:chOff x="6022373" y="1663756"/>
              <a:chExt cx="2968577" cy="4675387"/>
            </a:xfrm>
          </p:grpSpPr>
          <p:sp>
            <p:nvSpPr>
              <p:cNvPr id="78" name="Rectangle 77"/>
              <p:cNvSpPr/>
              <p:nvPr/>
            </p:nvSpPr>
            <p:spPr>
              <a:xfrm>
                <a:off x="6415923"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098" rtl="0" eaLnBrk="1" fontAlgn="base" latinLnBrk="0" hangingPunct="1">
                  <a:lnSpc>
                    <a:spcPct val="100000"/>
                  </a:lnSpc>
                  <a:spcBef>
                    <a:spcPts val="0"/>
                  </a:spcBef>
                  <a:spcAft>
                    <a:spcPct val="0"/>
                  </a:spcAft>
                  <a:buClrTx/>
                  <a:buSzTx/>
                  <a:buFontTx/>
                  <a:buNone/>
                  <a:tabLst/>
                  <a:defRPr/>
                </a:pPr>
                <a:r>
                  <a:rPr kumimoji="0" lang="en-US" sz="1799"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Platform </a:t>
                </a:r>
              </a:p>
              <a:p>
                <a:pPr marL="0" marR="0" lvl="1" indent="0" algn="l" defTabSz="1218098"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as a Service)</a:t>
                </a:r>
              </a:p>
            </p:txBody>
          </p:sp>
          <p:sp>
            <p:nvSpPr>
              <p:cNvPr id="79" name="Left Brace 78"/>
              <p:cNvSpPr/>
              <p:nvPr/>
            </p:nvSpPr>
            <p:spPr>
              <a:xfrm flipH="1">
                <a:off x="8173826"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819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0" name="TextBox 54"/>
              <p:cNvSpPr txBox="1"/>
              <p:nvPr/>
            </p:nvSpPr>
            <p:spPr>
              <a:xfrm rot="10800000" flipH="1">
                <a:off x="8302687" y="3801664"/>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09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cale, resilience and </a:t>
                </a:r>
                <a:b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nagement by vendor</a:t>
                </a:r>
              </a:p>
            </p:txBody>
          </p:sp>
          <p:sp>
            <p:nvSpPr>
              <p:cNvPr id="81" name="Left Brace 80"/>
              <p:cNvSpPr/>
              <p:nvPr/>
            </p:nvSpPr>
            <p:spPr>
              <a:xfrm>
                <a:off x="6365225"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819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2" name="TextBox 60"/>
              <p:cNvSpPr txBox="1"/>
              <p:nvPr/>
            </p:nvSpPr>
            <p:spPr>
              <a:xfrm>
                <a:off x="6022373" y="2321078"/>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09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u manage</a:t>
                </a:r>
              </a:p>
            </p:txBody>
          </p:sp>
          <p:sp>
            <p:nvSpPr>
              <p:cNvPr id="83" name="Rectangle 82"/>
              <p:cNvSpPr/>
              <p:nvPr/>
            </p:nvSpPr>
            <p:spPr>
              <a:xfrm>
                <a:off x="6526988" y="5495395"/>
                <a:ext cx="1637581"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6988" y="5040759"/>
                <a:ext cx="1637581"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6988" y="5950030"/>
                <a:ext cx="1637581"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6988" y="4131487"/>
                <a:ext cx="1637581"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6988" y="3676850"/>
                <a:ext cx="1637581"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6988" y="4586123"/>
                <a:ext cx="1637581"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6988" y="2312943"/>
                <a:ext cx="1637581"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6988" y="3222215"/>
                <a:ext cx="1637581" cy="380847"/>
              </a:xfrm>
              <a:prstGeom prst="rect">
                <a:avLst/>
              </a:prstGeom>
              <a:solidFill>
                <a:srgbClr val="F15A29"/>
              </a:solidFill>
              <a:ln w="9525" cap="flat" cmpd="sng" algn="ctr">
                <a:noFill/>
                <a:prstDash val="solid"/>
              </a:ln>
              <a:effectLst/>
            </p:spPr>
            <p:txBody>
              <a:bodyPr lIns="0" rIns="0"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6988" y="2767579"/>
                <a:ext cx="1637581"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Data</a:t>
                </a:r>
              </a:p>
            </p:txBody>
          </p:sp>
        </p:grpSp>
        <p:sp>
          <p:nvSpPr>
            <p:cNvPr id="92" name="Rectangle 91"/>
            <p:cNvSpPr/>
            <p:nvPr/>
          </p:nvSpPr>
          <p:spPr>
            <a:xfrm>
              <a:off x="885200" y="1008479"/>
              <a:ext cx="10544799"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098" rtl="0" eaLnBrk="1" fontAlgn="base" latinLnBrk="0" hangingPunct="1">
                <a:lnSpc>
                  <a:spcPct val="100000"/>
                </a:lnSpc>
                <a:spcBef>
                  <a:spcPts val="0"/>
                </a:spcBef>
                <a:spcAft>
                  <a:spcPct val="0"/>
                </a:spcAft>
                <a:buClrTx/>
                <a:buSzTx/>
                <a:buFontTx/>
                <a:buNone/>
                <a:tabLst/>
                <a:defRPr/>
              </a:pPr>
              <a:r>
                <a:rPr kumimoji="0" lang="en-US" sz="2599" b="1" i="0" u="none" strike="noStrike" kern="1200" cap="none" spc="0" normalizeH="0" baseline="0" noProof="0" dirty="0" smtClean="0">
                  <a:ln>
                    <a:noFill/>
                  </a:ln>
                  <a:solidFill>
                    <a:srgbClr val="FFFFFF"/>
                  </a:solidFill>
                  <a:effectLst/>
                  <a:uLnTx/>
                  <a:uFillTx/>
                  <a:latin typeface="Segoe UI Light" panose="020B0502040204020203" pitchFamily="34" charset="0"/>
                  <a:ea typeface="+mn-ea"/>
                  <a:cs typeface="Segoe UI Light" panose="020B0502040204020203" pitchFamily="34" charset="0"/>
                </a:rPr>
                <a:t>Hosting models</a:t>
              </a:r>
              <a:endParaRPr kumimoji="0" lang="en-US" sz="2599" b="1"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p:cNvGrpSpPr/>
            <p:nvPr/>
          </p:nvGrpSpPr>
          <p:grpSpPr>
            <a:xfrm>
              <a:off x="730118" y="1670678"/>
              <a:ext cx="2602354" cy="4653055"/>
              <a:chOff x="730118" y="1670678"/>
              <a:chExt cx="2602354" cy="4653055"/>
            </a:xfrm>
          </p:grpSpPr>
          <p:sp>
            <p:nvSpPr>
              <p:cNvPr id="62" name="Rectangle 61"/>
              <p:cNvSpPr/>
              <p:nvPr/>
            </p:nvSpPr>
            <p:spPr>
              <a:xfrm>
                <a:off x="1218652" y="1670678"/>
                <a:ext cx="2113820"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098" rtl="0" eaLnBrk="1" fontAlgn="base" latinLnBrk="0" hangingPunct="1">
                  <a:lnSpc>
                    <a:spcPct val="100000"/>
                  </a:lnSpc>
                  <a:spcBef>
                    <a:spcPts val="0"/>
                  </a:spcBef>
                  <a:spcAft>
                    <a:spcPct val="0"/>
                  </a:spcAft>
                  <a:buClrTx/>
                  <a:buSzTx/>
                  <a:buFontTx/>
                  <a:buNone/>
                  <a:tabLst/>
                  <a:defRPr/>
                </a:pPr>
                <a:r>
                  <a:rPr kumimoji="0" lang="en-US" sz="1799"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On </a:t>
                </a:r>
                <a:r>
                  <a:rPr kumimoji="0" lang="en-US" sz="1799" b="0" i="0" u="none" strike="noStrike" kern="1200" cap="none" spc="0" normalizeH="0" baseline="0" noProof="0" dirty="0" smtClean="0">
                    <a:ln>
                      <a:noFill/>
                    </a:ln>
                    <a:solidFill>
                      <a:srgbClr val="FFFFFF"/>
                    </a:solidFill>
                    <a:effectLst/>
                    <a:uLnTx/>
                    <a:uFillTx/>
                    <a:latin typeface="Segoe UI Light" panose="020B0502040204020203" pitchFamily="34" charset="0"/>
                    <a:ea typeface="+mn-ea"/>
                    <a:cs typeface="Segoe UI Light" panose="020B0502040204020203" pitchFamily="34" charset="0"/>
                  </a:rPr>
                  <a:t>Premises / </a:t>
                </a:r>
                <a:r>
                  <a:rPr kumimoji="0" lang="en-US" sz="1799" b="0" i="0" u="none" strike="noStrike" kern="1200" cap="none" spc="0" normalizeH="0" baseline="0" noProof="0" dirty="0" err="1" smtClean="0">
                    <a:ln>
                      <a:noFill/>
                    </a:ln>
                    <a:solidFill>
                      <a:srgbClr val="FFFFFF"/>
                    </a:solidFill>
                    <a:effectLst/>
                    <a:uLnTx/>
                    <a:uFillTx/>
                    <a:latin typeface="Segoe UI Light" panose="020B0502040204020203" pitchFamily="34" charset="0"/>
                    <a:ea typeface="+mn-ea"/>
                    <a:cs typeface="Segoe UI Light" panose="020B0502040204020203" pitchFamily="34" charset="0"/>
                  </a:rPr>
                  <a:t>Colo</a:t>
                </a:r>
                <a:endParaRPr kumimoji="0" lang="en-US" sz="1799"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63" name="TextBox 52"/>
              <p:cNvSpPr txBox="1"/>
              <p:nvPr/>
            </p:nvSpPr>
            <p:spPr>
              <a:xfrm>
                <a:off x="730118" y="2724960"/>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09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u scale, make resilient and manage</a:t>
                </a:r>
              </a:p>
            </p:txBody>
          </p:sp>
          <p:sp>
            <p:nvSpPr>
              <p:cNvPr id="105" name="Rectangle 104"/>
              <p:cNvSpPr/>
              <p:nvPr/>
            </p:nvSpPr>
            <p:spPr>
              <a:xfrm>
                <a:off x="1427343" y="5488252"/>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7343" y="5033616"/>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7343" y="5942886"/>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7343" y="4124344"/>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7343" y="3669708"/>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7343" y="4578980"/>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7343" y="2760436"/>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7343" y="2305799"/>
                <a:ext cx="1637582" cy="380847"/>
              </a:xfrm>
              <a:prstGeom prst="rect">
                <a:avLst/>
              </a:prstGeom>
              <a:solidFill>
                <a:srgbClr val="00B0F0"/>
              </a:solidFill>
              <a:ln w="9525" cap="flat" cmpd="sng" algn="ctr">
                <a:noFill/>
                <a:prstDash val="solid"/>
              </a:ln>
              <a:effectLst/>
            </p:spPr>
            <p:txBody>
              <a:bodyPr rtlCol="0" anchor="ctr" anchorCtr="0"/>
              <a:lstStyle/>
              <a:p>
                <a:pPr marL="0" marR="0" lvl="1" indent="0" algn="ctr" defTabSz="1218098" rtl="0" eaLnBrk="1" fontAlgn="base" latinLnBrk="0" hangingPunct="1">
                  <a:lnSpc>
                    <a:spcPct val="100000"/>
                  </a:lnSpc>
                  <a:spcBef>
                    <a:spcPts val="0"/>
                  </a:spcBef>
                  <a:spcAft>
                    <a:spcPct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pplications</a:t>
                </a:r>
              </a:p>
            </p:txBody>
          </p:sp>
          <p:sp>
            <p:nvSpPr>
              <p:cNvPr id="113" name="Rectangle 112"/>
              <p:cNvSpPr/>
              <p:nvPr/>
            </p:nvSpPr>
            <p:spPr>
              <a:xfrm>
                <a:off x="1427343" y="3215073"/>
                <a:ext cx="1637582" cy="380847"/>
              </a:xfrm>
              <a:prstGeom prst="rect">
                <a:avLst/>
              </a:prstGeom>
              <a:solidFill>
                <a:srgbClr val="00B0F0"/>
              </a:solidFill>
              <a:ln w="9525" cap="flat" cmpd="sng" algn="ctr">
                <a:noFill/>
                <a:prstDash val="solid"/>
              </a:ln>
              <a:effectLst/>
            </p:spPr>
            <p:txBody>
              <a:bodyPr rtlCol="0" anchor="ctr" anchorCtr="0"/>
              <a:lstStyle/>
              <a:p>
                <a:pPr marL="0" marR="0" lvl="0" indent="0" algn="ctr" defTabSz="121819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alpha val="99000"/>
                      </a:srgbClr>
                    </a:solidFill>
                    <a:effectLst/>
                    <a:uLnTx/>
                    <a:uFillTx/>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8210"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819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sp>
        <p:nvSpPr>
          <p:cNvPr id="2" name="Rectangle 1"/>
          <p:cNvSpPr/>
          <p:nvPr/>
        </p:nvSpPr>
        <p:spPr>
          <a:xfrm>
            <a:off x="539109" y="152401"/>
            <a:ext cx="2991525" cy="830997"/>
          </a:xfrm>
          <a:prstGeom prst="rect">
            <a:avLst/>
          </a:prstGeom>
        </p:spPr>
        <p:txBody>
          <a:bodyPr wrap="none">
            <a:spAutoFit/>
          </a:bodyPr>
          <a:lstStyle/>
          <a:p>
            <a:pPr marL="0" marR="0" lvl="0" indent="0" algn="l" defTabSz="914400" rtl="0" eaLnBrk="1" fontAlgn="auto" latinLnBrk="0" hangingPunct="1">
              <a:lnSpc>
                <a:spcPct val="100000"/>
              </a:lnSpc>
              <a:spcBef>
                <a:spcPts val="1799"/>
              </a:spcBef>
              <a:spcAft>
                <a:spcPts val="0"/>
              </a:spcAft>
              <a:buClrTx/>
              <a:buSzTx/>
              <a:buFontTx/>
              <a:buNone/>
              <a:tabLst/>
              <a:defRPr/>
            </a:pPr>
            <a:r>
              <a:rPr kumimoji="0" lang="en-US" sz="4800" b="0" i="0" u="none" strike="noStrike" kern="1200" cap="none" spc="0" normalizeH="0" baseline="0" noProof="0" dirty="0" smtClean="0">
                <a:ln>
                  <a:noFill/>
                </a:ln>
                <a:solidFill>
                  <a:srgbClr val="FFFFFF"/>
                </a:solidFill>
                <a:effectLst/>
                <a:uLnTx/>
                <a:uFillTx/>
                <a:latin typeface="Segoe UI Light"/>
                <a:ea typeface="+mn-ea"/>
                <a:cs typeface="+mn-cs"/>
              </a:rPr>
              <a:t>The cloud</a:t>
            </a:r>
            <a:r>
              <a:rPr kumimoji="0" lang="en-US" sz="4800" b="0" i="0" u="none" strike="noStrike" kern="1200" cap="none" spc="0" normalizeH="0" baseline="0" noProof="0" dirty="0">
                <a:ln>
                  <a:noFill/>
                </a:ln>
                <a:solidFill>
                  <a:srgbClr val="FFFFFF"/>
                </a:solidFill>
                <a:effectLst/>
                <a:uLnTx/>
                <a:uFillTx/>
                <a:latin typeface="Segoe UI Light"/>
                <a:ea typeface="+mn-ea"/>
                <a:cs typeface="+mn-cs"/>
              </a:rPr>
              <a:t>?</a:t>
            </a:r>
          </a:p>
        </p:txBody>
      </p:sp>
    </p:spTree>
    <p:extLst>
      <p:ext uri="{BB962C8B-B14F-4D97-AF65-F5344CB8AC3E}">
        <p14:creationId xmlns:p14="http://schemas.microsoft.com/office/powerpoint/2010/main" val="1230816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a:blip r:embed="rId2"/>
          <a:stretch>
            <a:fillRect/>
          </a:stretch>
        </p:blipFill>
        <p:spPr>
          <a:xfrm>
            <a:off x="6609503" y="0"/>
            <a:ext cx="5582498" cy="3614057"/>
          </a:xfrm>
          <a:prstGeom prst="rect">
            <a:avLst/>
          </a:prstGeom>
        </p:spPr>
      </p:pic>
      <p:pic>
        <p:nvPicPr>
          <p:cNvPr id="37" name="Picture 36"/>
          <p:cNvPicPr>
            <a:picLocks noChangeAspect="1"/>
          </p:cNvPicPr>
          <p:nvPr/>
        </p:nvPicPr>
        <p:blipFill>
          <a:blip r:embed="rId3"/>
          <a:stretch>
            <a:fillRect/>
          </a:stretch>
        </p:blipFill>
        <p:spPr>
          <a:xfrm>
            <a:off x="5276712" y="-373535"/>
            <a:ext cx="7264070" cy="4706299"/>
          </a:xfrm>
          <a:prstGeom prst="rect">
            <a:avLst/>
          </a:prstGeom>
        </p:spPr>
      </p:pic>
      <p:pic>
        <p:nvPicPr>
          <p:cNvPr id="38" name="Picture 37"/>
          <p:cNvPicPr>
            <a:picLocks noChangeAspect="1"/>
          </p:cNvPicPr>
          <p:nvPr/>
        </p:nvPicPr>
        <p:blipFill>
          <a:blip r:embed="rId4"/>
          <a:stretch>
            <a:fillRect/>
          </a:stretch>
        </p:blipFill>
        <p:spPr>
          <a:xfrm>
            <a:off x="8306794" y="298546"/>
            <a:ext cx="3327550" cy="2147980"/>
          </a:xfrm>
          <a:prstGeom prst="rect">
            <a:avLst/>
          </a:prstGeom>
        </p:spPr>
      </p:pic>
      <p:pic>
        <p:nvPicPr>
          <p:cNvPr id="18" name="Picture 17"/>
          <p:cNvPicPr>
            <a:picLocks noChangeAspect="1"/>
          </p:cNvPicPr>
          <p:nvPr/>
        </p:nvPicPr>
        <p:blipFill>
          <a:blip r:embed="rId5"/>
          <a:stretch>
            <a:fillRect/>
          </a:stretch>
        </p:blipFill>
        <p:spPr>
          <a:xfrm>
            <a:off x="3412002" y="1562735"/>
            <a:ext cx="6671087" cy="4310549"/>
          </a:xfrm>
          <a:prstGeom prst="rect">
            <a:avLst/>
          </a:prstGeom>
        </p:spPr>
      </p:pic>
      <p:grpSp>
        <p:nvGrpSpPr>
          <p:cNvPr id="41" name="Group 40"/>
          <p:cNvGrpSpPr/>
          <p:nvPr/>
        </p:nvGrpSpPr>
        <p:grpSpPr>
          <a:xfrm>
            <a:off x="439838" y="493782"/>
            <a:ext cx="4664598" cy="2178331"/>
            <a:chOff x="439838" y="493782"/>
            <a:chExt cx="4664598" cy="2178331"/>
          </a:xfrm>
        </p:grpSpPr>
        <p:sp>
          <p:nvSpPr>
            <p:cNvPr id="10" name="TextBox 9"/>
            <p:cNvSpPr txBox="1"/>
            <p:nvPr/>
          </p:nvSpPr>
          <p:spPr>
            <a:xfrm>
              <a:off x="439838" y="1287118"/>
              <a:ext cx="360045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panose="020B0502040204020203" pitchFamily="34" charset="0"/>
                  <a:ea typeface="+mn-ea"/>
                  <a:cs typeface="Segoe UI" panose="020B0502040204020203" pitchFamily="34" charset="0"/>
                </a:rPr>
                <a:t>.N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panose="020B0502040204020203" pitchFamily="34" charset="0"/>
                  <a:ea typeface="+mn-ea"/>
                  <a:cs typeface="Segoe UI" panose="020B0502040204020203" pitchFamily="34" charset="0"/>
                </a:rPr>
                <a:t>Pyth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smtClean="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1" name="TextBox 10"/>
            <p:cNvSpPr txBox="1"/>
            <p:nvPr/>
          </p:nvSpPr>
          <p:spPr>
            <a:xfrm>
              <a:off x="439838" y="493782"/>
              <a:ext cx="466459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smtClean="0">
                  <a:ln>
                    <a:noFill/>
                  </a:ln>
                  <a:solidFill>
                    <a:srgbClr val="92D050"/>
                  </a:solidFill>
                  <a:effectLst/>
                  <a:uLnTx/>
                  <a:uFillTx/>
                  <a:latin typeface="Segoe UI Light" panose="020B0502040204020203" pitchFamily="34" charset="0"/>
                  <a:ea typeface="+mn-ea"/>
                  <a:cs typeface="Segoe UI Light" panose="020B0502040204020203" pitchFamily="34" charset="0"/>
                </a:rPr>
                <a:t>Develop apps with…</a:t>
              </a:r>
              <a:endParaRPr kumimoji="0" lang="en-US" sz="4000" b="0" i="0" u="none" strike="noStrike" kern="1200" cap="none" spc="0" normalizeH="0" baseline="0" noProof="0" dirty="0">
                <a:ln>
                  <a:noFill/>
                </a:ln>
                <a:solidFill>
                  <a:srgbClr val="92D050"/>
                </a:solidFill>
                <a:effectLst/>
                <a:uLnTx/>
                <a:uFillTx/>
                <a:latin typeface="Segoe UI Light" panose="020B0502040204020203" pitchFamily="34" charset="0"/>
                <a:ea typeface="+mn-ea"/>
                <a:cs typeface="Segoe UI Light" panose="020B0502040204020203" pitchFamily="34" charset="0"/>
              </a:endParaRPr>
            </a:p>
          </p:txBody>
        </p:sp>
        <p:sp>
          <p:nvSpPr>
            <p:cNvPr id="12" name="TextBox 11"/>
            <p:cNvSpPr txBox="1"/>
            <p:nvPr/>
          </p:nvSpPr>
          <p:spPr>
            <a:xfrm>
              <a:off x="1791664" y="1287118"/>
              <a:ext cx="1389756"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panose="020B0502040204020203" pitchFamily="34" charset="0"/>
                  <a:ea typeface="+mn-ea"/>
                  <a:cs typeface="Segoe UI" panose="020B0502040204020203" pitchFamily="34" charset="0"/>
                </a:rPr>
                <a:t>Node.j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panose="020B0502040204020203" pitchFamily="34" charset="0"/>
                  <a:ea typeface="+mn-ea"/>
                  <a:cs typeface="Segoe UI" panose="020B0502040204020203" pitchFamily="34" charset="0"/>
                </a:rPr>
                <a:t>Java</a:t>
              </a:r>
              <a:endParaRPr kumimoji="0" lang="en-US" sz="2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smtClean="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3" name="TextBox 12"/>
            <p:cNvSpPr txBox="1"/>
            <p:nvPr/>
          </p:nvSpPr>
          <p:spPr>
            <a:xfrm>
              <a:off x="3502022" y="1287118"/>
              <a:ext cx="95673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panose="020B0502040204020203" pitchFamily="34" charset="0"/>
                  <a:ea typeface="+mn-ea"/>
                  <a:cs typeface="Segoe UI" panose="020B0502040204020203" pitchFamily="34" charset="0"/>
                </a:rPr>
                <a:t>PHP</a:t>
              </a:r>
              <a:endParaRPr kumimoji="0" lang="en-US" sz="2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smtClean="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grpSp>
        <p:nvGrpSpPr>
          <p:cNvPr id="39" name="Group 38"/>
          <p:cNvGrpSpPr/>
          <p:nvPr/>
        </p:nvGrpSpPr>
        <p:grpSpPr>
          <a:xfrm>
            <a:off x="5208428" y="713362"/>
            <a:ext cx="2712308" cy="4040125"/>
            <a:chOff x="768089" y="-1605208"/>
            <a:chExt cx="3768750" cy="5613751"/>
          </a:xfrm>
        </p:grpSpPr>
        <p:pic>
          <p:nvPicPr>
            <p:cNvPr id="8" name="Picture 7"/>
            <p:cNvPicPr>
              <a:picLocks noChangeAspect="1"/>
            </p:cNvPicPr>
            <p:nvPr/>
          </p:nvPicPr>
          <p:blipFill>
            <a:blip r:embed="rId6"/>
            <a:stretch>
              <a:fillRect/>
            </a:stretch>
          </p:blipFill>
          <p:spPr>
            <a:xfrm>
              <a:off x="768089" y="-1605208"/>
              <a:ext cx="3768750" cy="5613751"/>
            </a:xfrm>
            <a:prstGeom prst="rect">
              <a:avLst/>
            </a:prstGeom>
          </p:spPr>
        </p:pic>
        <p:pic>
          <p:nvPicPr>
            <p:cNvPr id="14" name="Picture 13"/>
            <p:cNvPicPr>
              <a:picLocks noChangeAspect="1"/>
            </p:cNvPicPr>
            <p:nvPr/>
          </p:nvPicPr>
          <p:blipFill>
            <a:blip r:embed="rId7"/>
            <a:stretch>
              <a:fillRect/>
            </a:stretch>
          </p:blipFill>
          <p:spPr>
            <a:xfrm>
              <a:off x="1755198" y="534480"/>
              <a:ext cx="1361250" cy="1800000"/>
            </a:xfrm>
            <a:prstGeom prst="rect">
              <a:avLst/>
            </a:prstGeom>
          </p:spPr>
        </p:pic>
      </p:grpSp>
      <p:pic>
        <p:nvPicPr>
          <p:cNvPr id="16" name="Picture 15"/>
          <p:cNvPicPr>
            <a:picLocks noChangeAspect="1"/>
          </p:cNvPicPr>
          <p:nvPr/>
        </p:nvPicPr>
        <p:blipFill>
          <a:blip r:embed="rId8"/>
          <a:stretch>
            <a:fillRect/>
          </a:stretch>
        </p:blipFill>
        <p:spPr>
          <a:xfrm>
            <a:off x="10156137" y="2523955"/>
            <a:ext cx="1468487" cy="948588"/>
          </a:xfrm>
          <a:prstGeom prst="rect">
            <a:avLst/>
          </a:prstGeom>
        </p:spPr>
      </p:pic>
      <p:pic>
        <p:nvPicPr>
          <p:cNvPr id="19" name="Picture 18"/>
          <p:cNvPicPr>
            <a:picLocks noChangeAspect="1"/>
          </p:cNvPicPr>
          <p:nvPr/>
        </p:nvPicPr>
        <p:blipFill>
          <a:blip r:embed="rId9"/>
          <a:stretch>
            <a:fillRect/>
          </a:stretch>
        </p:blipFill>
        <p:spPr>
          <a:xfrm>
            <a:off x="4607525" y="3601907"/>
            <a:ext cx="2340000" cy="1473750"/>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0"/>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grpSp>
        <p:nvGrpSpPr>
          <p:cNvPr id="4" name="Group 3"/>
          <p:cNvGrpSpPr/>
          <p:nvPr/>
        </p:nvGrpSpPr>
        <p:grpSpPr>
          <a:xfrm>
            <a:off x="1" y="3302216"/>
            <a:ext cx="4822369" cy="3565454"/>
            <a:chOff x="1" y="3302216"/>
            <a:chExt cx="4822369" cy="3565454"/>
          </a:xfrm>
        </p:grpSpPr>
        <p:pic>
          <p:nvPicPr>
            <p:cNvPr id="21" name="Picture 20"/>
            <p:cNvPicPr>
              <a:picLocks noChangeAspect="1"/>
            </p:cNvPicPr>
            <p:nvPr/>
          </p:nvPicPr>
          <p:blipFill>
            <a:blip r:embed="rId12"/>
            <a:stretch>
              <a:fillRect/>
            </a:stretch>
          </p:blipFill>
          <p:spPr>
            <a:xfrm>
              <a:off x="1" y="3743009"/>
              <a:ext cx="4822369" cy="3124661"/>
            </a:xfrm>
            <a:prstGeom prst="rect">
              <a:avLst/>
            </a:prstGeom>
          </p:spPr>
        </p:pic>
        <p:pic>
          <p:nvPicPr>
            <p:cNvPr id="23" name="Picture 22"/>
            <p:cNvPicPr>
              <a:picLocks noChangeAspect="1"/>
            </p:cNvPicPr>
            <p:nvPr/>
          </p:nvPicPr>
          <p:blipFill>
            <a:blip r:embed="rId13"/>
            <a:stretch>
              <a:fillRect/>
            </a:stretch>
          </p:blipFill>
          <p:spPr>
            <a:xfrm>
              <a:off x="215340" y="3302216"/>
              <a:ext cx="2092500" cy="2340000"/>
            </a:xfrm>
            <a:prstGeom prst="rect">
              <a:avLst/>
            </a:prstGeom>
          </p:spPr>
        </p:pic>
        <p:pic>
          <p:nvPicPr>
            <p:cNvPr id="24" name="Picture 23"/>
            <p:cNvPicPr>
              <a:picLocks noChangeAspect="1"/>
            </p:cNvPicPr>
            <p:nvPr/>
          </p:nvPicPr>
          <p:blipFill>
            <a:blip r:embed="rId10"/>
            <a:stretch>
              <a:fillRect/>
            </a:stretch>
          </p:blipFill>
          <p:spPr>
            <a:xfrm>
              <a:off x="1447611" y="5043761"/>
              <a:ext cx="1237500" cy="1462500"/>
            </a:xfrm>
            <a:prstGeom prst="rect">
              <a:avLst/>
            </a:prstGeom>
          </p:spPr>
        </p:pic>
        <p:pic>
          <p:nvPicPr>
            <p:cNvPr id="25" name="Picture 24"/>
            <p:cNvPicPr>
              <a:picLocks noChangeAspect="1"/>
            </p:cNvPicPr>
            <p:nvPr/>
          </p:nvPicPr>
          <p:blipFill>
            <a:blip r:embed="rId14"/>
            <a:stretch>
              <a:fillRect/>
            </a:stretch>
          </p:blipFill>
          <p:spPr>
            <a:xfrm>
              <a:off x="2788810" y="4960912"/>
              <a:ext cx="447874" cy="1224190"/>
            </a:xfrm>
            <a:prstGeom prst="rect">
              <a:avLst/>
            </a:prstGeom>
          </p:spPr>
        </p:pic>
        <p:pic>
          <p:nvPicPr>
            <p:cNvPr id="40" name="Picture 39"/>
            <p:cNvPicPr>
              <a:picLocks noChangeAspect="1"/>
            </p:cNvPicPr>
            <p:nvPr/>
          </p:nvPicPr>
          <p:blipFill>
            <a:blip r:embed="rId15"/>
            <a:stretch>
              <a:fillRect/>
            </a:stretch>
          </p:blipFill>
          <p:spPr>
            <a:xfrm>
              <a:off x="257977" y="5707769"/>
              <a:ext cx="1481228" cy="956627"/>
            </a:xfrm>
            <a:prstGeom prst="rect">
              <a:avLst/>
            </a:prstGeom>
          </p:spPr>
        </p:pic>
      </p:grpSp>
      <p:grpSp>
        <p:nvGrpSpPr>
          <p:cNvPr id="2" name="Group 1"/>
          <p:cNvGrpSpPr/>
          <p:nvPr/>
        </p:nvGrpSpPr>
        <p:grpSpPr>
          <a:xfrm>
            <a:off x="1764141" y="1287118"/>
            <a:ext cx="1686910" cy="966143"/>
            <a:chOff x="1447611" y="1287118"/>
            <a:chExt cx="1686910" cy="966143"/>
          </a:xfrm>
        </p:grpSpPr>
        <p:cxnSp>
          <p:nvCxnSpPr>
            <p:cNvPr id="6" name="Straight Connector 5"/>
            <p:cNvCxnSpPr/>
            <p:nvPr/>
          </p:nvCxnSpPr>
          <p:spPr>
            <a:xfrm>
              <a:off x="1447611" y="1287118"/>
              <a:ext cx="0" cy="966143"/>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134521" y="1287118"/>
              <a:ext cx="0" cy="966143"/>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9787568" y="-79793"/>
            <a:ext cx="934789" cy="1104751"/>
            <a:chOff x="9787568" y="-79793"/>
            <a:chExt cx="934789" cy="1104751"/>
          </a:xfrm>
        </p:grpSpPr>
        <p:pic>
          <p:nvPicPr>
            <p:cNvPr id="45" name="Picture 44"/>
            <p:cNvPicPr>
              <a:picLocks noChangeAspect="1"/>
            </p:cNvPicPr>
            <p:nvPr/>
          </p:nvPicPr>
          <p:blipFill>
            <a:blip r:embed="rId10"/>
            <a:stretch>
              <a:fillRect/>
            </a:stretch>
          </p:blipFill>
          <p:spPr>
            <a:xfrm>
              <a:off x="9787568" y="-79793"/>
              <a:ext cx="934789" cy="1104751"/>
            </a:xfrm>
            <a:prstGeom prst="rect">
              <a:avLst/>
            </a:prstGeom>
          </p:spPr>
        </p:pic>
        <p:pic>
          <p:nvPicPr>
            <p:cNvPr id="34" name="Picture 33"/>
            <p:cNvPicPr>
              <a:picLocks noChangeAspect="1"/>
            </p:cNvPicPr>
            <p:nvPr/>
          </p:nvPicPr>
          <p:blipFill>
            <a:blip r:embed="rId16"/>
            <a:stretch>
              <a:fillRect/>
            </a:stretch>
          </p:blipFill>
          <p:spPr>
            <a:xfrm>
              <a:off x="10328954" y="214760"/>
              <a:ext cx="147937" cy="295874"/>
            </a:xfrm>
            <a:prstGeom prst="rect">
              <a:avLst/>
            </a:prstGeom>
          </p:spPr>
        </p:pic>
      </p:grpSp>
    </p:spTree>
    <p:extLst>
      <p:ext uri="{BB962C8B-B14F-4D97-AF65-F5344CB8AC3E}">
        <p14:creationId xmlns:p14="http://schemas.microsoft.com/office/powerpoint/2010/main" val="4282942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a:spLocks noGrp="1"/>
          </p:cNvSpPr>
          <p:nvPr>
            <p:ph type="title"/>
          </p:nvPr>
        </p:nvSpPr>
        <p:spPr/>
        <p:txBody>
          <a:bodyPr/>
          <a:lstStyle/>
          <a:p>
            <a:r>
              <a:rPr lang="ko-KR" altLang="en-US" dirty="0" smtClean="0"/>
              <a:t>실습</a:t>
            </a:r>
            <a:r>
              <a:rPr lang="en-US" altLang="ko-KR" dirty="0" smtClean="0"/>
              <a:t>: Azure Web App</a:t>
            </a:r>
            <a:endParaRPr lang="ko-KR" altLang="en-US" dirty="0"/>
          </a:p>
        </p:txBody>
      </p:sp>
      <p:sp>
        <p:nvSpPr>
          <p:cNvPr id="4" name="텍스트 개체 틀 3"/>
          <p:cNvSpPr>
            <a:spLocks noGrp="1"/>
          </p:cNvSpPr>
          <p:nvPr>
            <p:ph type="body" sz="quarter" idx="14"/>
          </p:nvPr>
        </p:nvSpPr>
        <p:spPr/>
        <p:txBody>
          <a:bodyPr/>
          <a:lstStyle/>
          <a:p>
            <a:r>
              <a:rPr lang="en-US" altLang="ko-KR" dirty="0" smtClean="0"/>
              <a:t>Web Server Setting</a:t>
            </a:r>
            <a:endParaRPr lang="ko-KR" altLang="en-US" dirty="0"/>
          </a:p>
        </p:txBody>
      </p:sp>
    </p:spTree>
    <p:extLst>
      <p:ext uri="{BB962C8B-B14F-4D97-AF65-F5344CB8AC3E}">
        <p14:creationId xmlns:p14="http://schemas.microsoft.com/office/powerpoint/2010/main" val="83989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886108" y="4681140"/>
            <a:ext cx="10419785" cy="1256040"/>
            <a:chOff x="704438" y="2991238"/>
            <a:chExt cx="10419785" cy="1256040"/>
          </a:xfrm>
        </p:grpSpPr>
        <p:grpSp>
          <p:nvGrpSpPr>
            <p:cNvPr id="32" name="Group 31"/>
            <p:cNvGrpSpPr/>
            <p:nvPr/>
          </p:nvGrpSpPr>
          <p:grpSpPr>
            <a:xfrm>
              <a:off x="5692095" y="3005203"/>
              <a:ext cx="907621" cy="974159"/>
              <a:chOff x="5692095" y="3005203"/>
              <a:chExt cx="907621" cy="974159"/>
            </a:xfrm>
          </p:grpSpPr>
          <p:pic>
            <p:nvPicPr>
              <p:cNvPr id="7" name="Picture 6"/>
              <p:cNvPicPr>
                <a:picLocks noChangeAspect="1"/>
              </p:cNvPicPr>
              <p:nvPr/>
            </p:nvPicPr>
            <p:blipFill>
              <a:blip r:embed="rId3">
                <a:biLevel thresh="25000"/>
              </a:blip>
              <a:stretch>
                <a:fillRect/>
              </a:stretch>
            </p:blipFill>
            <p:spPr>
              <a:xfrm>
                <a:off x="5857719" y="3005203"/>
                <a:ext cx="576373" cy="572607"/>
              </a:xfrm>
              <a:prstGeom prst="rect">
                <a:avLst/>
              </a:prstGeom>
            </p:spPr>
          </p:pic>
          <p:sp>
            <p:nvSpPr>
              <p:cNvPr id="12" name="TextBox 11"/>
              <p:cNvSpPr txBox="1"/>
              <p:nvPr/>
            </p:nvSpPr>
            <p:spPr>
              <a:xfrm>
                <a:off x="5692095" y="3610030"/>
                <a:ext cx="9076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Segoe UI"/>
                    <a:ea typeface="+mn-ea"/>
                    <a:cs typeface="+mn-cs"/>
                  </a:rPr>
                  <a:t>GitHub</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29" name="Group 28"/>
            <p:cNvGrpSpPr/>
            <p:nvPr/>
          </p:nvGrpSpPr>
          <p:grpSpPr>
            <a:xfrm>
              <a:off x="704438" y="3033136"/>
              <a:ext cx="1498102" cy="1214142"/>
              <a:chOff x="704438" y="3033136"/>
              <a:chExt cx="1498102" cy="1214142"/>
            </a:xfrm>
          </p:grpSpPr>
          <p:pic>
            <p:nvPicPr>
              <p:cNvPr id="5" name="Picture 4"/>
              <p:cNvPicPr>
                <a:picLocks noChangeAspect="1"/>
              </p:cNvPicPr>
              <p:nvPr/>
            </p:nvPicPr>
            <p:blipFill>
              <a:blip r:embed="rId4">
                <a:biLevel thresh="25000"/>
              </a:blip>
              <a:stretch>
                <a:fillRect/>
              </a:stretch>
            </p:blipFill>
            <p:spPr>
              <a:xfrm>
                <a:off x="1193419" y="3033136"/>
                <a:ext cx="520141" cy="516741"/>
              </a:xfrm>
              <a:prstGeom prst="rect">
                <a:avLst/>
              </a:prstGeom>
            </p:spPr>
          </p:pic>
          <p:sp>
            <p:nvSpPr>
              <p:cNvPr id="2" name="TextBox 1"/>
              <p:cNvSpPr txBox="1"/>
              <p:nvPr/>
            </p:nvSpPr>
            <p:spPr>
              <a:xfrm>
                <a:off x="704438" y="3600947"/>
                <a:ext cx="149810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Visual Stud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Online</a:t>
                </a:r>
              </a:p>
            </p:txBody>
          </p:sp>
        </p:grpSp>
        <p:grpSp>
          <p:nvGrpSpPr>
            <p:cNvPr id="31" name="Group 30"/>
            <p:cNvGrpSpPr/>
            <p:nvPr/>
          </p:nvGrpSpPr>
          <p:grpSpPr>
            <a:xfrm>
              <a:off x="4494470" y="2991238"/>
              <a:ext cx="604489" cy="985161"/>
              <a:chOff x="4494470" y="2991238"/>
              <a:chExt cx="604489" cy="985161"/>
            </a:xfrm>
          </p:grpSpPr>
          <p:pic>
            <p:nvPicPr>
              <p:cNvPr id="6" name="Picture 5"/>
              <p:cNvPicPr>
                <a:picLocks noChangeAspect="1"/>
              </p:cNvPicPr>
              <p:nvPr/>
            </p:nvPicPr>
            <p:blipFill>
              <a:blip r:embed="rId5">
                <a:biLevel thresh="25000"/>
              </a:blip>
              <a:stretch>
                <a:fillRect/>
              </a:stretch>
            </p:blipFill>
            <p:spPr>
              <a:xfrm>
                <a:off x="4494470" y="2991238"/>
                <a:ext cx="604489" cy="600537"/>
              </a:xfrm>
              <a:prstGeom prst="rect">
                <a:avLst/>
              </a:prstGeom>
            </p:spPr>
          </p:pic>
          <p:sp>
            <p:nvSpPr>
              <p:cNvPr id="3" name="TextBox 2"/>
              <p:cNvSpPr txBox="1"/>
              <p:nvPr/>
            </p:nvSpPr>
            <p:spPr>
              <a:xfrm>
                <a:off x="4557706" y="3607067"/>
                <a:ext cx="4780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Segoe UI"/>
                    <a:ea typeface="+mn-ea"/>
                    <a:cs typeface="+mn-cs"/>
                  </a:rPr>
                  <a:t>Git</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33" name="Group 32"/>
            <p:cNvGrpSpPr/>
            <p:nvPr/>
          </p:nvGrpSpPr>
          <p:grpSpPr>
            <a:xfrm>
              <a:off x="7192859" y="3019169"/>
              <a:ext cx="1132233" cy="960193"/>
              <a:chOff x="7192859" y="3019169"/>
              <a:chExt cx="1132233" cy="960193"/>
            </a:xfrm>
          </p:grpSpPr>
          <p:pic>
            <p:nvPicPr>
              <p:cNvPr id="9" name="Picture 8"/>
              <p:cNvPicPr>
                <a:picLocks noChangeAspect="1"/>
              </p:cNvPicPr>
              <p:nvPr/>
            </p:nvPicPr>
            <p:blipFill>
              <a:blip r:embed="rId6">
                <a:biLevel thresh="25000"/>
              </a:blip>
              <a:stretch>
                <a:fillRect/>
              </a:stretch>
            </p:blipFill>
            <p:spPr>
              <a:xfrm>
                <a:off x="7519991" y="3019169"/>
                <a:ext cx="477968" cy="544674"/>
              </a:xfrm>
              <a:prstGeom prst="rect">
                <a:avLst/>
              </a:prstGeom>
            </p:spPr>
          </p:pic>
          <p:sp>
            <p:nvSpPr>
              <p:cNvPr id="13" name="TextBox 12"/>
              <p:cNvSpPr txBox="1"/>
              <p:nvPr/>
            </p:nvSpPr>
            <p:spPr>
              <a:xfrm>
                <a:off x="7192859" y="3610030"/>
                <a:ext cx="113223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Segoe UI"/>
                    <a:ea typeface="+mn-ea"/>
                    <a:cs typeface="+mn-cs"/>
                  </a:rPr>
                  <a:t>BitBucket</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30" name="Group 29"/>
            <p:cNvGrpSpPr/>
            <p:nvPr/>
          </p:nvGrpSpPr>
          <p:grpSpPr>
            <a:xfrm>
              <a:off x="2798555" y="3075034"/>
              <a:ext cx="1130438" cy="894732"/>
              <a:chOff x="2798555" y="3075034"/>
              <a:chExt cx="1130438" cy="894732"/>
            </a:xfrm>
          </p:grpSpPr>
          <p:pic>
            <p:nvPicPr>
              <p:cNvPr id="10" name="Picture 9"/>
              <p:cNvPicPr>
                <a:picLocks noChangeAspect="1"/>
              </p:cNvPicPr>
              <p:nvPr/>
            </p:nvPicPr>
            <p:blipFill>
              <a:blip r:embed="rId7">
                <a:biLevel thresh="25000"/>
              </a:blip>
              <a:stretch>
                <a:fillRect/>
              </a:stretch>
            </p:blipFill>
            <p:spPr>
              <a:xfrm>
                <a:off x="3082617" y="3075034"/>
                <a:ext cx="562315" cy="432945"/>
              </a:xfrm>
              <a:prstGeom prst="rect">
                <a:avLst/>
              </a:prstGeom>
            </p:spPr>
          </p:pic>
          <p:sp>
            <p:nvSpPr>
              <p:cNvPr id="14" name="TextBox 13"/>
              <p:cNvSpPr txBox="1"/>
              <p:nvPr/>
            </p:nvSpPr>
            <p:spPr>
              <a:xfrm>
                <a:off x="2798555" y="3600434"/>
                <a:ext cx="11304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Segoe UI"/>
                    <a:ea typeface="+mn-ea"/>
                    <a:cs typeface="+mn-cs"/>
                  </a:rPr>
                  <a:t>CodePlex</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34" name="Group 33"/>
            <p:cNvGrpSpPr/>
            <p:nvPr/>
          </p:nvGrpSpPr>
          <p:grpSpPr>
            <a:xfrm>
              <a:off x="8918233" y="3012187"/>
              <a:ext cx="1065292" cy="971439"/>
              <a:chOff x="8918233" y="3012187"/>
              <a:chExt cx="1065292" cy="971439"/>
            </a:xfrm>
          </p:grpSpPr>
          <p:pic>
            <p:nvPicPr>
              <p:cNvPr id="8" name="Picture 7"/>
              <p:cNvPicPr>
                <a:picLocks noChangeAspect="1"/>
              </p:cNvPicPr>
              <p:nvPr/>
            </p:nvPicPr>
            <p:blipFill>
              <a:blip r:embed="rId8">
                <a:biLevel thresh="25000"/>
              </a:blip>
              <a:stretch>
                <a:fillRect/>
              </a:stretch>
            </p:blipFill>
            <p:spPr>
              <a:xfrm>
                <a:off x="9148635" y="3012187"/>
                <a:ext cx="604489" cy="558639"/>
              </a:xfrm>
              <a:prstGeom prst="rect">
                <a:avLst/>
              </a:prstGeom>
            </p:spPr>
          </p:pic>
          <p:sp>
            <p:nvSpPr>
              <p:cNvPr id="16" name="Rectangle 15"/>
              <p:cNvSpPr/>
              <p:nvPr/>
            </p:nvSpPr>
            <p:spPr>
              <a:xfrm>
                <a:off x="8918233" y="3614294"/>
                <a:ext cx="106529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Segoe UI"/>
                    <a:ea typeface="+mn-ea"/>
                    <a:cs typeface="+mn-cs"/>
                  </a:rPr>
                  <a:t>DropBox</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35" name="Group 34"/>
            <p:cNvGrpSpPr/>
            <p:nvPr/>
          </p:nvGrpSpPr>
          <p:grpSpPr>
            <a:xfrm>
              <a:off x="10575675" y="3010480"/>
              <a:ext cx="548548" cy="965919"/>
              <a:chOff x="10575675" y="3010480"/>
              <a:chExt cx="548548" cy="965919"/>
            </a:xfrm>
          </p:grpSpPr>
          <p:pic>
            <p:nvPicPr>
              <p:cNvPr id="26" name="Picture 25"/>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0626081" y="3010480"/>
                <a:ext cx="447737" cy="562053"/>
              </a:xfrm>
              <a:prstGeom prst="rect">
                <a:avLst/>
              </a:prstGeom>
            </p:spPr>
          </p:pic>
          <p:sp>
            <p:nvSpPr>
              <p:cNvPr id="27" name="TextBox 26"/>
              <p:cNvSpPr txBox="1"/>
              <p:nvPr/>
            </p:nvSpPr>
            <p:spPr>
              <a:xfrm>
                <a:off x="10575675" y="3607067"/>
                <a:ext cx="5485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FTP</a:t>
                </a:r>
              </a:p>
            </p:txBody>
          </p:sp>
        </p:grpSp>
      </p:grpSp>
      <p:sp>
        <p:nvSpPr>
          <p:cNvPr id="37" name="TextBox 36"/>
          <p:cNvSpPr txBox="1"/>
          <p:nvPr/>
        </p:nvSpPr>
        <p:spPr>
          <a:xfrm>
            <a:off x="125129" y="2465545"/>
            <a:ext cx="1206687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Segoe UI"/>
                <a:ea typeface="+mn-ea"/>
                <a:cs typeface="+mn-cs"/>
              </a:rPr>
              <a:t>Choose your own </a:t>
            </a:r>
            <a:r>
              <a:rPr kumimoji="0" lang="en-US" sz="4400" b="1" i="0" u="none" strike="noStrike" kern="1200" cap="none" spc="0" normalizeH="0" baseline="0" noProof="0" dirty="0" smtClean="0">
                <a:ln>
                  <a:noFill/>
                </a:ln>
                <a:solidFill>
                  <a:prstClr val="white"/>
                </a:solidFill>
                <a:effectLst/>
                <a:uLnTx/>
                <a:uFillTx/>
                <a:latin typeface="Segoe UI"/>
                <a:ea typeface="+mn-ea"/>
                <a:cs typeface="+mn-cs"/>
              </a:rPr>
              <a:t>(deployment) Adventure</a:t>
            </a:r>
            <a:r>
              <a:rPr kumimoji="0" lang="en-US" sz="4400" b="1" i="0" u="none" strike="noStrike" kern="1200" cap="none" spc="0" normalizeH="0" baseline="0" noProof="0" dirty="0">
                <a:ln>
                  <a:noFill/>
                </a:ln>
                <a:solidFill>
                  <a:prstClr val="white"/>
                </a:solidFill>
                <a:effectLst/>
                <a:uLnTx/>
                <a:uFillTx/>
                <a:latin typeface="Segoe UI"/>
                <a:ea typeface="+mn-ea"/>
                <a:cs typeface="+mn-cs"/>
              </a:rPr>
              <a:t>!</a:t>
            </a:r>
          </a:p>
        </p:txBody>
      </p:sp>
      <p:sp>
        <p:nvSpPr>
          <p:cNvPr id="25" name="Title 1"/>
          <p:cNvSpPr txBox="1">
            <a:spLocks/>
          </p:cNvSpPr>
          <p:nvPr/>
        </p:nvSpPr>
        <p:spPr>
          <a:xfrm>
            <a:off x="695386" y="470886"/>
            <a:ext cx="9173444" cy="1558636"/>
          </a:xfrm>
          <a:prstGeom prst="rect">
            <a:avLst/>
          </a:prstGeom>
        </p:spPr>
        <p:txBody>
          <a:bodyP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7200" dirty="0" smtClean="0">
                <a:latin typeface="HY견고딕" panose="02030600000101010101" pitchFamily="18" charset="-127"/>
                <a:ea typeface="HY견고딕" panose="02030600000101010101" pitchFamily="18" charset="-127"/>
              </a:rPr>
              <a:t>Deployment</a:t>
            </a:r>
            <a:endParaRPr lang="en-US" sz="7200" dirty="0">
              <a:latin typeface="HY견고딕" panose="02030600000101010101" pitchFamily="18" charset="-127"/>
              <a:ea typeface="HY견고딕" panose="02030600000101010101" pitchFamily="18" charset="-127"/>
            </a:endParaRPr>
          </a:p>
        </p:txBody>
      </p:sp>
    </p:spTree>
    <p:extLst>
      <p:ext uri="{BB962C8B-B14F-4D97-AF65-F5344CB8AC3E}">
        <p14:creationId xmlns:p14="http://schemas.microsoft.com/office/powerpoint/2010/main" val="893476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a:spLocks noGrp="1"/>
          </p:cNvSpPr>
          <p:nvPr>
            <p:ph type="title"/>
          </p:nvPr>
        </p:nvSpPr>
        <p:spPr/>
        <p:txBody>
          <a:bodyPr/>
          <a:lstStyle/>
          <a:p>
            <a:r>
              <a:rPr lang="ko-KR" altLang="en-US" dirty="0" smtClean="0"/>
              <a:t>실습</a:t>
            </a:r>
            <a:r>
              <a:rPr lang="en-US" altLang="ko-KR" dirty="0" smtClean="0"/>
              <a:t>: </a:t>
            </a:r>
            <a:r>
              <a:rPr lang="en-US" altLang="ko-KR" dirty="0" err="1" smtClean="0"/>
              <a:t>Github</a:t>
            </a:r>
            <a:r>
              <a:rPr lang="en-US" altLang="ko-KR" dirty="0" smtClean="0"/>
              <a:t> </a:t>
            </a:r>
            <a:r>
              <a:rPr lang="ko-KR" altLang="en-US" dirty="0" smtClean="0"/>
              <a:t>연결</a:t>
            </a:r>
            <a:endParaRPr lang="ko-KR" altLang="en-US" dirty="0"/>
          </a:p>
        </p:txBody>
      </p:sp>
      <p:sp>
        <p:nvSpPr>
          <p:cNvPr id="4" name="텍스트 개체 틀 3"/>
          <p:cNvSpPr>
            <a:spLocks noGrp="1"/>
          </p:cNvSpPr>
          <p:nvPr>
            <p:ph type="body" sz="quarter" idx="14"/>
          </p:nvPr>
        </p:nvSpPr>
        <p:spPr/>
        <p:txBody>
          <a:bodyPr/>
          <a:lstStyle/>
          <a:p>
            <a:r>
              <a:rPr lang="en-US" altLang="ko-KR" dirty="0" smtClean="0"/>
              <a:t>http://github.com</a:t>
            </a:r>
            <a:endParaRPr lang="ko-KR" altLang="en-US" dirty="0"/>
          </a:p>
        </p:txBody>
      </p:sp>
    </p:spTree>
    <p:extLst>
      <p:ext uri="{BB962C8B-B14F-4D97-AF65-F5344CB8AC3E}">
        <p14:creationId xmlns:p14="http://schemas.microsoft.com/office/powerpoint/2010/main" val="149633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cstate="email">
            <a:extLst>
              <a:ext uri="{28A0092B-C50C-407E-A947-70E740481C1C}">
                <a14:useLocalDpi xmlns:a14="http://schemas.microsoft.com/office/drawing/2010/main" val="0"/>
              </a:ext>
            </a:extLst>
          </a:blip>
          <a:stretch>
            <a:fillRect/>
          </a:stretch>
        </p:blipFill>
        <p:spPr>
          <a:xfrm>
            <a:off x="6799522" y="3958627"/>
            <a:ext cx="6305841" cy="4171768"/>
          </a:xfrm>
          <a:prstGeom prst="rect">
            <a:avLst/>
          </a:prstGeom>
        </p:spPr>
      </p:pic>
      <p:sp>
        <p:nvSpPr>
          <p:cNvPr id="6" name="Content Placeholder 2"/>
          <p:cNvSpPr txBox="1">
            <a:spLocks/>
          </p:cNvSpPr>
          <p:nvPr/>
        </p:nvSpPr>
        <p:spPr>
          <a:xfrm>
            <a:off x="560798" y="2029522"/>
            <a:ext cx="11079822" cy="387302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Create Azure Resources during File / New</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Create Azure Website during deplo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itle 1"/>
          <p:cNvSpPr txBox="1">
            <a:spLocks/>
          </p:cNvSpPr>
          <p:nvPr/>
        </p:nvSpPr>
        <p:spPr>
          <a:xfrm>
            <a:off x="695386" y="470886"/>
            <a:ext cx="10208834" cy="155863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7200" dirty="0" smtClean="0">
                <a:latin typeface="HY견고딕" panose="02030600000101010101" pitchFamily="18" charset="-127"/>
                <a:ea typeface="HY견고딕" panose="02030600000101010101" pitchFamily="18" charset="-127"/>
              </a:rPr>
              <a:t>Visual Studio Code</a:t>
            </a:r>
            <a:endParaRPr lang="en-US" sz="7200" dirty="0">
              <a:latin typeface="HY견고딕" panose="02030600000101010101" pitchFamily="18" charset="-127"/>
              <a:ea typeface="HY견고딕" panose="02030600000101010101" pitchFamily="18" charset="-127"/>
            </a:endParaRPr>
          </a:p>
        </p:txBody>
      </p:sp>
    </p:spTree>
    <p:extLst>
      <p:ext uri="{BB962C8B-B14F-4D97-AF65-F5344CB8AC3E}">
        <p14:creationId xmlns:p14="http://schemas.microsoft.com/office/powerpoint/2010/main" val="12979029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a:spLocks noGrp="1"/>
          </p:cNvSpPr>
          <p:nvPr>
            <p:ph type="title"/>
          </p:nvPr>
        </p:nvSpPr>
        <p:spPr/>
        <p:txBody>
          <a:bodyPr/>
          <a:lstStyle/>
          <a:p>
            <a:r>
              <a:rPr lang="ko-KR" altLang="en-US" dirty="0" smtClean="0"/>
              <a:t>실습</a:t>
            </a:r>
            <a:r>
              <a:rPr lang="en-US" altLang="ko-KR" dirty="0" smtClean="0"/>
              <a:t>: PHP</a:t>
            </a:r>
            <a:endParaRPr lang="ko-KR" altLang="en-US" dirty="0"/>
          </a:p>
        </p:txBody>
      </p:sp>
      <p:sp>
        <p:nvSpPr>
          <p:cNvPr id="4" name="텍스트 개체 틀 3"/>
          <p:cNvSpPr>
            <a:spLocks noGrp="1"/>
          </p:cNvSpPr>
          <p:nvPr>
            <p:ph type="body" sz="quarter" idx="14"/>
          </p:nvPr>
        </p:nvSpPr>
        <p:spPr/>
        <p:txBody>
          <a:bodyPr/>
          <a:lstStyle/>
          <a:p>
            <a:r>
              <a:rPr lang="en-US" altLang="ko-KR" dirty="0" err="1" smtClean="0"/>
              <a:t>Github</a:t>
            </a:r>
            <a:r>
              <a:rPr lang="ko-KR" altLang="en-US" dirty="0" smtClean="0"/>
              <a:t>를 이용한 배포</a:t>
            </a:r>
            <a:endParaRPr lang="ko-KR" altLang="en-US" dirty="0"/>
          </a:p>
        </p:txBody>
      </p:sp>
    </p:spTree>
    <p:extLst>
      <p:ext uri="{BB962C8B-B14F-4D97-AF65-F5344CB8AC3E}">
        <p14:creationId xmlns:p14="http://schemas.microsoft.com/office/powerpoint/2010/main" val="94853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cstate="email">
            <a:extLst>
              <a:ext uri="{28A0092B-C50C-407E-A947-70E740481C1C}">
                <a14:useLocalDpi xmlns:a14="http://schemas.microsoft.com/office/drawing/2010/main" val="0"/>
              </a:ext>
            </a:extLst>
          </a:blip>
          <a:stretch>
            <a:fillRect/>
          </a:stretch>
        </p:blipFill>
        <p:spPr>
          <a:xfrm>
            <a:off x="6799522" y="3958627"/>
            <a:ext cx="6305841" cy="4171768"/>
          </a:xfrm>
          <a:prstGeom prst="rect">
            <a:avLst/>
          </a:prstGeom>
        </p:spPr>
      </p:pic>
      <p:sp>
        <p:nvSpPr>
          <p:cNvPr id="6" name="Content Placeholder 2"/>
          <p:cNvSpPr txBox="1">
            <a:spLocks/>
          </p:cNvSpPr>
          <p:nvPr/>
        </p:nvSpPr>
        <p:spPr>
          <a:xfrm>
            <a:off x="560798" y="2029522"/>
            <a:ext cx="11079822" cy="387302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Create MySQL</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Create Table</a:t>
            </a:r>
            <a:r>
              <a:rPr kumimoji="0" lang="en-US" sz="2800" b="0" i="0" u="none" strike="noStrike" kern="1200" cap="none" spc="0" normalizeH="0" noProof="0" dirty="0" smtClean="0">
                <a:ln>
                  <a:noFill/>
                </a:ln>
                <a:solidFill>
                  <a:srgbClr val="FFFFFF"/>
                </a:solidFill>
                <a:effectLst/>
                <a:uLnTx/>
                <a:uFillTx/>
                <a:latin typeface="Segoe UI"/>
                <a:ea typeface="+mn-ea"/>
                <a:cs typeface="+mn-cs"/>
              </a:rPr>
              <a:t> in MySQL</a:t>
            </a:r>
            <a:endParaRPr kumimoji="0" lang="en-US" sz="2800" b="0" i="0" u="none" strike="noStrike" kern="1200" cap="none" spc="0" normalizeH="0" baseline="0" noProof="0" dirty="0" smtClean="0">
              <a:ln>
                <a:noFill/>
              </a:ln>
              <a:solidFill>
                <a:srgbClr val="FFFFFF"/>
              </a:solidFill>
              <a:effectLst/>
              <a:uLnTx/>
              <a:uFillTx/>
              <a:latin typeface="Segoe U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2" name="그림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86" y="3313701"/>
            <a:ext cx="1619250" cy="1095375"/>
          </a:xfrm>
          <a:prstGeom prst="rect">
            <a:avLst/>
          </a:prstGeom>
        </p:spPr>
      </p:pic>
      <p:sp>
        <p:nvSpPr>
          <p:cNvPr id="7" name="Title 1"/>
          <p:cNvSpPr txBox="1">
            <a:spLocks/>
          </p:cNvSpPr>
          <p:nvPr/>
        </p:nvSpPr>
        <p:spPr>
          <a:xfrm>
            <a:off x="695386" y="470886"/>
            <a:ext cx="9173444" cy="155863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7200" dirty="0" smtClean="0">
                <a:latin typeface="HY견고딕" panose="02030600000101010101" pitchFamily="18" charset="-127"/>
                <a:ea typeface="HY견고딕" panose="02030600000101010101" pitchFamily="18" charset="-127"/>
              </a:rPr>
              <a:t>MySQL Database</a:t>
            </a:r>
            <a:endParaRPr lang="en-US" sz="7200" dirty="0">
              <a:latin typeface="HY견고딕" panose="02030600000101010101" pitchFamily="18" charset="-127"/>
              <a:ea typeface="HY견고딕" panose="02030600000101010101" pitchFamily="18" charset="-127"/>
            </a:endParaRPr>
          </a:p>
        </p:txBody>
      </p:sp>
    </p:spTree>
    <p:extLst>
      <p:ext uri="{BB962C8B-B14F-4D97-AF65-F5344CB8AC3E}">
        <p14:creationId xmlns:p14="http://schemas.microsoft.com/office/powerpoint/2010/main" val="42595494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a:spLocks noGrp="1"/>
          </p:cNvSpPr>
          <p:nvPr>
            <p:ph type="title"/>
          </p:nvPr>
        </p:nvSpPr>
        <p:spPr/>
        <p:txBody>
          <a:bodyPr/>
          <a:lstStyle/>
          <a:p>
            <a:r>
              <a:rPr lang="ko-KR" altLang="en-US" dirty="0" smtClean="0"/>
              <a:t>실습</a:t>
            </a:r>
            <a:r>
              <a:rPr lang="en-US" altLang="ko-KR" dirty="0" smtClean="0"/>
              <a:t>: MySQL</a:t>
            </a:r>
            <a:endParaRPr lang="ko-KR" altLang="en-US" dirty="0"/>
          </a:p>
        </p:txBody>
      </p:sp>
      <p:sp>
        <p:nvSpPr>
          <p:cNvPr id="4" name="텍스트 개체 틀 3"/>
          <p:cNvSpPr>
            <a:spLocks noGrp="1"/>
          </p:cNvSpPr>
          <p:nvPr>
            <p:ph type="body" sz="quarter" idx="14"/>
          </p:nvPr>
        </p:nvSpPr>
        <p:spPr/>
        <p:txBody>
          <a:bodyPr/>
          <a:lstStyle/>
          <a:p>
            <a:r>
              <a:rPr lang="ko-KR" altLang="en-US" dirty="0" smtClean="0"/>
              <a:t>데이터베이스 생성 및 </a:t>
            </a:r>
            <a:r>
              <a:rPr lang="en-US" altLang="ko-KR" dirty="0" smtClean="0"/>
              <a:t>PHP </a:t>
            </a:r>
            <a:r>
              <a:rPr lang="ko-KR" altLang="en-US" dirty="0" smtClean="0"/>
              <a:t>프로그램과 연결</a:t>
            </a:r>
            <a:endParaRPr lang="ko-KR" altLang="en-US" dirty="0"/>
          </a:p>
        </p:txBody>
      </p:sp>
    </p:spTree>
    <p:extLst>
      <p:ext uri="{BB962C8B-B14F-4D97-AF65-F5344CB8AC3E}">
        <p14:creationId xmlns:p14="http://schemas.microsoft.com/office/powerpoint/2010/main" val="1307635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그림 1"/>
          <p:cNvPicPr>
            <a:picLocks noChangeAspect="1"/>
          </p:cNvPicPr>
          <p:nvPr/>
        </p:nvPicPr>
        <p:blipFill>
          <a:blip r:embed="rId2"/>
          <a:stretch>
            <a:fillRect/>
          </a:stretch>
        </p:blipFill>
        <p:spPr>
          <a:xfrm>
            <a:off x="269303" y="201906"/>
            <a:ext cx="5938814" cy="5322522"/>
          </a:xfrm>
          <a:prstGeom prst="rect">
            <a:avLst/>
          </a:prstGeom>
        </p:spPr>
      </p:pic>
      <p:pic>
        <p:nvPicPr>
          <p:cNvPr id="3"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0302" y="381189"/>
            <a:ext cx="4668879" cy="3109474"/>
          </a:xfrm>
          <a:prstGeom prst="rect">
            <a:avLst/>
          </a:prstGeom>
        </p:spPr>
      </p:pic>
      <p:pic>
        <p:nvPicPr>
          <p:cNvPr id="4" name="그림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37038" y="1725811"/>
            <a:ext cx="3413898" cy="4554140"/>
          </a:xfrm>
          <a:prstGeom prst="rect">
            <a:avLst/>
          </a:prstGeom>
        </p:spPr>
      </p:pic>
      <p:pic>
        <p:nvPicPr>
          <p:cNvPr id="5" name="그림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6793" y="2174020"/>
            <a:ext cx="5985261" cy="3989199"/>
          </a:xfrm>
          <a:prstGeom prst="rect">
            <a:avLst/>
          </a:prstGeom>
        </p:spPr>
      </p:pic>
      <p:pic>
        <p:nvPicPr>
          <p:cNvPr id="6" name="그림 5"/>
          <p:cNvPicPr>
            <a:picLocks noChangeAspect="1"/>
          </p:cNvPicPr>
          <p:nvPr/>
        </p:nvPicPr>
        <p:blipFill>
          <a:blip r:embed="rId6"/>
          <a:stretch>
            <a:fillRect/>
          </a:stretch>
        </p:blipFill>
        <p:spPr>
          <a:xfrm>
            <a:off x="6006358" y="560472"/>
            <a:ext cx="6403842" cy="7152232"/>
          </a:xfrm>
          <a:prstGeom prst="rect">
            <a:avLst/>
          </a:prstGeom>
        </p:spPr>
      </p:pic>
    </p:spTree>
    <p:extLst>
      <p:ext uri="{BB962C8B-B14F-4D97-AF65-F5344CB8AC3E}">
        <p14:creationId xmlns:p14="http://schemas.microsoft.com/office/powerpoint/2010/main" val="1815771708"/>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Scale</a:t>
            </a:r>
            <a:endParaRPr lang="en-US" sz="8800" dirty="0"/>
          </a:p>
        </p:txBody>
      </p:sp>
    </p:spTree>
    <p:extLst>
      <p:ext uri="{BB962C8B-B14F-4D97-AF65-F5344CB8AC3E}">
        <p14:creationId xmlns:p14="http://schemas.microsoft.com/office/powerpoint/2010/main" val="749757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25129" y="134754"/>
            <a:ext cx="12066872"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prstClr val="white"/>
                </a:solidFill>
                <a:effectLst/>
                <a:uLnTx/>
                <a:uFillTx/>
                <a:latin typeface="Segoe UI"/>
                <a:ea typeface="+mn-ea"/>
                <a:cs typeface="+mn-cs"/>
              </a:rPr>
              <a:t>Manual Scaling</a:t>
            </a:r>
            <a:endParaRPr kumimoji="0" lang="en-US" sz="36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2" name="Group 1"/>
          <p:cNvGrpSpPr/>
          <p:nvPr/>
        </p:nvGrpSpPr>
        <p:grpSpPr>
          <a:xfrm>
            <a:off x="697226" y="2514536"/>
            <a:ext cx="10797548" cy="532565"/>
            <a:chOff x="339034" y="1899061"/>
            <a:chExt cx="10797548" cy="532565"/>
          </a:xfrm>
        </p:grpSpPr>
        <p:grpSp>
          <p:nvGrpSpPr>
            <p:cNvPr id="4" name="Group 3"/>
            <p:cNvGrpSpPr/>
            <p:nvPr/>
          </p:nvGrpSpPr>
          <p:grpSpPr>
            <a:xfrm>
              <a:off x="2999285" y="1899062"/>
              <a:ext cx="6384569" cy="532564"/>
              <a:chOff x="2844907" y="1899062"/>
              <a:chExt cx="6384569" cy="532564"/>
            </a:xfrm>
            <a:solidFill>
              <a:srgbClr val="999999"/>
            </a:solidFill>
          </p:grpSpPr>
          <p:grpSp>
            <p:nvGrpSpPr>
              <p:cNvPr id="5" name="Group 4"/>
              <p:cNvGrpSpPr/>
              <p:nvPr/>
            </p:nvGrpSpPr>
            <p:grpSpPr>
              <a:xfrm>
                <a:off x="3540169" y="1962418"/>
                <a:ext cx="4992400" cy="396507"/>
                <a:chOff x="3290793" y="2025775"/>
                <a:chExt cx="4992400" cy="396507"/>
              </a:xfrm>
              <a:grpFill/>
            </p:grpSpPr>
            <p:sp>
              <p:nvSpPr>
                <p:cNvPr id="8" name="Rectangle 7"/>
                <p:cNvSpPr/>
                <p:nvPr/>
              </p:nvSpPr>
              <p:spPr bwMode="auto">
                <a:xfrm>
                  <a:off x="3290793" y="2134948"/>
                  <a:ext cx="4992400" cy="196851"/>
                </a:xfrm>
                <a:prstGeom prst="rect">
                  <a:avLst/>
                </a:prstGeom>
                <a:grpFill/>
                <a:ln>
                  <a:solidFill>
                    <a:srgbClr val="99999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srgbClr val="999999"/>
                    </a:solidFill>
                    <a:effectLst/>
                    <a:uLnTx/>
                    <a:uFillTx/>
                    <a:latin typeface="Segoe UI"/>
                    <a:ea typeface="+mn-ea"/>
                    <a:cs typeface="+mn-cs"/>
                  </a:endParaRPr>
                </a:p>
              </p:txBody>
            </p:sp>
            <p:sp>
              <p:nvSpPr>
                <p:cNvPr id="9" name="Rectangle 8"/>
                <p:cNvSpPr/>
                <p:nvPr/>
              </p:nvSpPr>
              <p:spPr bwMode="auto">
                <a:xfrm>
                  <a:off x="3290794" y="2134950"/>
                  <a:ext cx="2867772" cy="196850"/>
                </a:xfrm>
                <a:prstGeom prst="rect">
                  <a:avLst/>
                </a:prstGeom>
                <a:solidFill>
                  <a:srgbClr val="289F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gradFill>
                      <a:gsLst>
                        <a:gs pos="0">
                          <a:srgbClr val="5F5F5F"/>
                        </a:gs>
                        <a:gs pos="100000">
                          <a:srgbClr val="5F5F5F"/>
                        </a:gs>
                      </a:gsLst>
                      <a:lin ang="5400000" scaled="0"/>
                    </a:gradFill>
                    <a:effectLst/>
                    <a:uLnTx/>
                    <a:uFillTx/>
                    <a:latin typeface="Segoe UI"/>
                    <a:ea typeface="+mn-ea"/>
                    <a:cs typeface="+mn-cs"/>
                  </a:endParaRPr>
                </a:p>
              </p:txBody>
            </p:sp>
            <p:sp>
              <p:nvSpPr>
                <p:cNvPr id="11" name="Rectangle 10"/>
                <p:cNvSpPr/>
                <p:nvPr/>
              </p:nvSpPr>
              <p:spPr bwMode="auto">
                <a:xfrm>
                  <a:off x="6158565" y="2025775"/>
                  <a:ext cx="101496" cy="396507"/>
                </a:xfrm>
                <a:prstGeom prst="rect">
                  <a:avLst/>
                </a:prstGeom>
                <a:solidFill>
                  <a:srgbClr val="00B0F0"/>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gradFill>
                      <a:gsLst>
                        <a:gs pos="0">
                          <a:srgbClr val="5F5F5F"/>
                        </a:gs>
                        <a:gs pos="100000">
                          <a:srgbClr val="5F5F5F"/>
                        </a:gs>
                      </a:gsLst>
                      <a:lin ang="5400000" scaled="0"/>
                    </a:gradFill>
                    <a:effectLst/>
                    <a:uLnTx/>
                    <a:uFillTx/>
                    <a:latin typeface="Segoe UI"/>
                    <a:ea typeface="+mn-ea"/>
                    <a:cs typeface="+mn-cs"/>
                  </a:endParaRPr>
                </a:p>
              </p:txBody>
            </p:sp>
          </p:grpSp>
          <p:sp>
            <p:nvSpPr>
              <p:cNvPr id="6" name="TextBox 5"/>
              <p:cNvSpPr txBox="1"/>
              <p:nvPr/>
            </p:nvSpPr>
            <p:spPr>
              <a:xfrm>
                <a:off x="2844907" y="1899062"/>
                <a:ext cx="593766" cy="523220"/>
              </a:xfrm>
              <a:prstGeom prst="rect">
                <a:avLst/>
              </a:prstGeom>
              <a:noFill/>
              <a:ln w="19050">
                <a:solidFill>
                  <a:schemeClr val="bg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7" name="TextBox 6"/>
              <p:cNvSpPr txBox="1"/>
              <p:nvPr/>
            </p:nvSpPr>
            <p:spPr>
              <a:xfrm>
                <a:off x="8635710" y="1908406"/>
                <a:ext cx="593766" cy="523220"/>
              </a:xfrm>
              <a:prstGeom prst="rect">
                <a:avLst/>
              </a:prstGeom>
              <a:noFill/>
              <a:ln w="19050">
                <a:solidFill>
                  <a:schemeClr val="bg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6</a:t>
                </a: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0" name="TextBox 19"/>
            <p:cNvSpPr txBox="1"/>
            <p:nvPr/>
          </p:nvSpPr>
          <p:spPr>
            <a:xfrm>
              <a:off x="339034" y="1899061"/>
              <a:ext cx="255711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Instance Count</a:t>
              </a:r>
            </a:p>
          </p:txBody>
        </p:sp>
        <p:sp>
          <p:nvSpPr>
            <p:cNvPr id="23" name="TextBox 22"/>
            <p:cNvSpPr txBox="1"/>
            <p:nvPr/>
          </p:nvSpPr>
          <p:spPr>
            <a:xfrm>
              <a:off x="9486771" y="1908406"/>
              <a:ext cx="16498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Instances</a:t>
              </a:r>
            </a:p>
          </p:txBody>
        </p:sp>
      </p:grpSp>
    </p:spTree>
    <p:extLst>
      <p:ext uri="{BB962C8B-B14F-4D97-AF65-F5344CB8AC3E}">
        <p14:creationId xmlns:p14="http://schemas.microsoft.com/office/powerpoint/2010/main" val="2153969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2"/>
          <a:stretch>
            <a:fillRect/>
          </a:stretch>
        </p:blipFill>
        <p:spPr>
          <a:xfrm>
            <a:off x="2845363" y="4756882"/>
            <a:ext cx="2172796" cy="1400076"/>
          </a:xfrm>
          <a:prstGeom prst="rect">
            <a:avLst/>
          </a:prstGeom>
        </p:spPr>
      </p:pic>
      <p:pic>
        <p:nvPicPr>
          <p:cNvPr id="30" name="Picture 29"/>
          <p:cNvPicPr>
            <a:picLocks noChangeAspect="1"/>
          </p:cNvPicPr>
          <p:nvPr/>
        </p:nvPicPr>
        <p:blipFill>
          <a:blip r:embed="rId3"/>
          <a:stretch>
            <a:fillRect/>
          </a:stretch>
        </p:blipFill>
        <p:spPr>
          <a:xfrm>
            <a:off x="6609503" y="0"/>
            <a:ext cx="5582498" cy="3614057"/>
          </a:xfrm>
          <a:prstGeom prst="rect">
            <a:avLst/>
          </a:prstGeom>
        </p:spPr>
      </p:pic>
      <p:pic>
        <p:nvPicPr>
          <p:cNvPr id="38" name="Picture 37"/>
          <p:cNvPicPr>
            <a:picLocks noChangeAspect="1"/>
          </p:cNvPicPr>
          <p:nvPr/>
        </p:nvPicPr>
        <p:blipFill>
          <a:blip r:embed="rId4"/>
          <a:stretch>
            <a:fillRect/>
          </a:stretch>
        </p:blipFill>
        <p:spPr>
          <a:xfrm>
            <a:off x="8314314" y="267557"/>
            <a:ext cx="3327550" cy="2147980"/>
          </a:xfrm>
          <a:prstGeom prst="rect">
            <a:avLst/>
          </a:prstGeom>
        </p:spPr>
      </p:pic>
      <p:pic>
        <p:nvPicPr>
          <p:cNvPr id="18" name="Picture 17"/>
          <p:cNvPicPr>
            <a:picLocks noChangeAspect="1"/>
          </p:cNvPicPr>
          <p:nvPr/>
        </p:nvPicPr>
        <p:blipFill>
          <a:blip r:embed="rId5"/>
          <a:stretch>
            <a:fillRect/>
          </a:stretch>
        </p:blipFill>
        <p:spPr>
          <a:xfrm>
            <a:off x="3412002" y="1562735"/>
            <a:ext cx="6671087" cy="4310549"/>
          </a:xfrm>
          <a:prstGeom prst="rect">
            <a:avLst/>
          </a:prstGeom>
        </p:spPr>
      </p:pic>
      <p:pic>
        <p:nvPicPr>
          <p:cNvPr id="37" name="Picture 36"/>
          <p:cNvPicPr>
            <a:picLocks noChangeAspect="1"/>
          </p:cNvPicPr>
          <p:nvPr/>
        </p:nvPicPr>
        <p:blipFill>
          <a:blip r:embed="rId6"/>
          <a:stretch>
            <a:fillRect/>
          </a:stretch>
        </p:blipFill>
        <p:spPr>
          <a:xfrm>
            <a:off x="5276712" y="-373535"/>
            <a:ext cx="7264070" cy="4706299"/>
          </a:xfrm>
          <a:prstGeom prst="rect">
            <a:avLst/>
          </a:prstGeom>
        </p:spPr>
      </p:pic>
      <p:grpSp>
        <p:nvGrpSpPr>
          <p:cNvPr id="39" name="Group 38"/>
          <p:cNvGrpSpPr/>
          <p:nvPr/>
        </p:nvGrpSpPr>
        <p:grpSpPr>
          <a:xfrm>
            <a:off x="5208428" y="713362"/>
            <a:ext cx="2712308" cy="4040125"/>
            <a:chOff x="768089" y="-1605208"/>
            <a:chExt cx="3768750" cy="5613751"/>
          </a:xfrm>
        </p:grpSpPr>
        <p:pic>
          <p:nvPicPr>
            <p:cNvPr id="8" name="Picture 7"/>
            <p:cNvPicPr>
              <a:picLocks noChangeAspect="1"/>
            </p:cNvPicPr>
            <p:nvPr/>
          </p:nvPicPr>
          <p:blipFill>
            <a:blip r:embed="rId7"/>
            <a:stretch>
              <a:fillRect/>
            </a:stretch>
          </p:blipFill>
          <p:spPr>
            <a:xfrm>
              <a:off x="768089" y="-1605208"/>
              <a:ext cx="3768750" cy="5613751"/>
            </a:xfrm>
            <a:prstGeom prst="rect">
              <a:avLst/>
            </a:prstGeom>
          </p:spPr>
        </p:pic>
        <p:pic>
          <p:nvPicPr>
            <p:cNvPr id="14" name="Picture 13"/>
            <p:cNvPicPr>
              <a:picLocks noChangeAspect="1"/>
            </p:cNvPicPr>
            <p:nvPr/>
          </p:nvPicPr>
          <p:blipFill>
            <a:blip r:embed="rId8"/>
            <a:stretch>
              <a:fillRect/>
            </a:stretch>
          </p:blipFill>
          <p:spPr>
            <a:xfrm>
              <a:off x="1755198" y="534480"/>
              <a:ext cx="1361250" cy="1800000"/>
            </a:xfrm>
            <a:prstGeom prst="rect">
              <a:avLst/>
            </a:prstGeom>
          </p:spPr>
        </p:pic>
      </p:grpSp>
      <p:pic>
        <p:nvPicPr>
          <p:cNvPr id="16" name="Picture 15"/>
          <p:cNvPicPr>
            <a:picLocks noChangeAspect="1"/>
          </p:cNvPicPr>
          <p:nvPr/>
        </p:nvPicPr>
        <p:blipFill>
          <a:blip r:embed="rId9"/>
          <a:stretch>
            <a:fillRect/>
          </a:stretch>
        </p:blipFill>
        <p:spPr>
          <a:xfrm>
            <a:off x="10156137" y="2523955"/>
            <a:ext cx="1468487" cy="948588"/>
          </a:xfrm>
          <a:prstGeom prst="rect">
            <a:avLst/>
          </a:prstGeom>
        </p:spPr>
      </p:pic>
      <p:pic>
        <p:nvPicPr>
          <p:cNvPr id="21" name="Picture 20"/>
          <p:cNvPicPr>
            <a:picLocks noChangeAspect="1"/>
          </p:cNvPicPr>
          <p:nvPr/>
        </p:nvPicPr>
        <p:blipFill>
          <a:blip r:embed="rId10"/>
          <a:stretch>
            <a:fillRect/>
          </a:stretch>
        </p:blipFill>
        <p:spPr>
          <a:xfrm>
            <a:off x="1" y="3743009"/>
            <a:ext cx="4822369" cy="3124661"/>
          </a:xfrm>
          <a:prstGeom prst="rect">
            <a:avLst/>
          </a:prstGeom>
        </p:spPr>
      </p:pic>
      <p:pic>
        <p:nvPicPr>
          <p:cNvPr id="22" name="Picture 21"/>
          <p:cNvPicPr>
            <a:picLocks noChangeAspect="1"/>
          </p:cNvPicPr>
          <p:nvPr/>
        </p:nvPicPr>
        <p:blipFill>
          <a:blip r:embed="rId11"/>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2"/>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5" y="1657972"/>
            <a:ext cx="360045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err="1" smtClean="0">
                <a:ln>
                  <a:noFill/>
                </a:ln>
                <a:solidFill>
                  <a:srgbClr val="FFFFFF"/>
                </a:solidFill>
                <a:effectLst/>
                <a:uLnTx/>
                <a:uFillTx/>
                <a:latin typeface="Segoe UI Light" panose="020B0502040204020203" pitchFamily="34" charset="0"/>
                <a:ea typeface="+mn-ea"/>
                <a:cs typeface="Segoe UI Light" panose="020B0502040204020203" pitchFamily="34" charset="0"/>
              </a:rPr>
              <a:t>AutoScale</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27" name="Picture 26"/>
          <p:cNvPicPr>
            <a:picLocks noChangeAspect="1"/>
          </p:cNvPicPr>
          <p:nvPr/>
        </p:nvPicPr>
        <p:blipFill>
          <a:blip r:embed="rId14"/>
          <a:stretch>
            <a:fillRect/>
          </a:stretch>
        </p:blipFill>
        <p:spPr>
          <a:xfrm>
            <a:off x="215340" y="3302216"/>
            <a:ext cx="2092500" cy="2340000"/>
          </a:xfrm>
          <a:prstGeom prst="rect">
            <a:avLst/>
          </a:prstGeom>
        </p:spPr>
      </p:pic>
      <p:pic>
        <p:nvPicPr>
          <p:cNvPr id="28" name="Picture 27"/>
          <p:cNvPicPr>
            <a:picLocks noChangeAspect="1"/>
          </p:cNvPicPr>
          <p:nvPr/>
        </p:nvPicPr>
        <p:blipFill>
          <a:blip r:embed="rId12"/>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5"/>
          <a:stretch>
            <a:fillRect/>
          </a:stretch>
        </p:blipFill>
        <p:spPr>
          <a:xfrm>
            <a:off x="2788810" y="4960912"/>
            <a:ext cx="447874" cy="1224190"/>
          </a:xfrm>
          <a:prstGeom prst="rect">
            <a:avLst/>
          </a:prstGeom>
        </p:spPr>
      </p:pic>
      <p:pic>
        <p:nvPicPr>
          <p:cNvPr id="41" name="Picture 40"/>
          <p:cNvPicPr>
            <a:picLocks noChangeAspect="1"/>
          </p:cNvPicPr>
          <p:nvPr/>
        </p:nvPicPr>
        <p:blipFill>
          <a:blip r:embed="rId16"/>
          <a:stretch>
            <a:fillRect/>
          </a:stretch>
        </p:blipFill>
        <p:spPr>
          <a:xfrm>
            <a:off x="4607525" y="3601907"/>
            <a:ext cx="2340000" cy="1473750"/>
          </a:xfrm>
          <a:prstGeom prst="rect">
            <a:avLst/>
          </a:prstGeom>
        </p:spPr>
      </p:pic>
      <p:grpSp>
        <p:nvGrpSpPr>
          <p:cNvPr id="24" name="Group 23"/>
          <p:cNvGrpSpPr/>
          <p:nvPr/>
        </p:nvGrpSpPr>
        <p:grpSpPr>
          <a:xfrm>
            <a:off x="9787568" y="-79793"/>
            <a:ext cx="934789" cy="1104751"/>
            <a:chOff x="9827324" y="-40038"/>
            <a:chExt cx="934789" cy="1104751"/>
          </a:xfrm>
        </p:grpSpPr>
        <p:pic>
          <p:nvPicPr>
            <p:cNvPr id="25" name="Picture 24"/>
            <p:cNvPicPr>
              <a:picLocks noChangeAspect="1"/>
            </p:cNvPicPr>
            <p:nvPr/>
          </p:nvPicPr>
          <p:blipFill>
            <a:blip r:embed="rId12"/>
            <a:stretch>
              <a:fillRect/>
            </a:stretch>
          </p:blipFill>
          <p:spPr>
            <a:xfrm>
              <a:off x="9827324" y="-40038"/>
              <a:ext cx="934789" cy="1104751"/>
            </a:xfrm>
            <a:prstGeom prst="rect">
              <a:avLst/>
            </a:prstGeom>
          </p:spPr>
        </p:pic>
        <p:pic>
          <p:nvPicPr>
            <p:cNvPr id="40" name="Picture 39"/>
            <p:cNvPicPr>
              <a:picLocks noChangeAspect="1"/>
            </p:cNvPicPr>
            <p:nvPr/>
          </p:nvPicPr>
          <p:blipFill>
            <a:blip r:embed="rId17"/>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9279507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2"/>
          <a:stretch>
            <a:fillRect/>
          </a:stretch>
        </p:blipFill>
        <p:spPr>
          <a:xfrm>
            <a:off x="1908380" y="4146760"/>
            <a:ext cx="2172796" cy="1400076"/>
          </a:xfrm>
          <a:prstGeom prst="rect">
            <a:avLst/>
          </a:prstGeom>
        </p:spPr>
      </p:pic>
      <p:pic>
        <p:nvPicPr>
          <p:cNvPr id="26" name="Picture 25"/>
          <p:cNvPicPr>
            <a:picLocks noChangeAspect="1"/>
          </p:cNvPicPr>
          <p:nvPr/>
        </p:nvPicPr>
        <p:blipFill>
          <a:blip r:embed="rId2"/>
          <a:stretch>
            <a:fillRect/>
          </a:stretch>
        </p:blipFill>
        <p:spPr>
          <a:xfrm>
            <a:off x="2845363" y="4756882"/>
            <a:ext cx="2172796" cy="1400076"/>
          </a:xfrm>
          <a:prstGeom prst="rect">
            <a:avLst/>
          </a:prstGeom>
        </p:spPr>
      </p:pic>
      <p:pic>
        <p:nvPicPr>
          <p:cNvPr id="30" name="Picture 29"/>
          <p:cNvPicPr>
            <a:picLocks noChangeAspect="1"/>
          </p:cNvPicPr>
          <p:nvPr/>
        </p:nvPicPr>
        <p:blipFill>
          <a:blip r:embed="rId3"/>
          <a:stretch>
            <a:fillRect/>
          </a:stretch>
        </p:blipFill>
        <p:spPr>
          <a:xfrm>
            <a:off x="6609503" y="0"/>
            <a:ext cx="5582498" cy="3614057"/>
          </a:xfrm>
          <a:prstGeom prst="rect">
            <a:avLst/>
          </a:prstGeom>
        </p:spPr>
      </p:pic>
      <p:pic>
        <p:nvPicPr>
          <p:cNvPr id="38" name="Picture 37"/>
          <p:cNvPicPr>
            <a:picLocks noChangeAspect="1"/>
          </p:cNvPicPr>
          <p:nvPr/>
        </p:nvPicPr>
        <p:blipFill>
          <a:blip r:embed="rId4"/>
          <a:stretch>
            <a:fillRect/>
          </a:stretch>
        </p:blipFill>
        <p:spPr>
          <a:xfrm>
            <a:off x="8314314" y="267557"/>
            <a:ext cx="3327550" cy="2147980"/>
          </a:xfrm>
          <a:prstGeom prst="rect">
            <a:avLst/>
          </a:prstGeom>
        </p:spPr>
      </p:pic>
      <p:pic>
        <p:nvPicPr>
          <p:cNvPr id="18" name="Picture 17"/>
          <p:cNvPicPr>
            <a:picLocks noChangeAspect="1"/>
          </p:cNvPicPr>
          <p:nvPr/>
        </p:nvPicPr>
        <p:blipFill>
          <a:blip r:embed="rId5"/>
          <a:stretch>
            <a:fillRect/>
          </a:stretch>
        </p:blipFill>
        <p:spPr>
          <a:xfrm>
            <a:off x="3412002" y="1562735"/>
            <a:ext cx="6671087" cy="4310549"/>
          </a:xfrm>
          <a:prstGeom prst="rect">
            <a:avLst/>
          </a:prstGeom>
        </p:spPr>
      </p:pic>
      <p:pic>
        <p:nvPicPr>
          <p:cNvPr id="37" name="Picture 36"/>
          <p:cNvPicPr>
            <a:picLocks noChangeAspect="1"/>
          </p:cNvPicPr>
          <p:nvPr/>
        </p:nvPicPr>
        <p:blipFill>
          <a:blip r:embed="rId6"/>
          <a:stretch>
            <a:fillRect/>
          </a:stretch>
        </p:blipFill>
        <p:spPr>
          <a:xfrm>
            <a:off x="5276712" y="-373535"/>
            <a:ext cx="7264070" cy="4706299"/>
          </a:xfrm>
          <a:prstGeom prst="rect">
            <a:avLst/>
          </a:prstGeom>
        </p:spPr>
      </p:pic>
      <p:pic>
        <p:nvPicPr>
          <p:cNvPr id="16" name="Picture 15"/>
          <p:cNvPicPr>
            <a:picLocks noChangeAspect="1"/>
          </p:cNvPicPr>
          <p:nvPr/>
        </p:nvPicPr>
        <p:blipFill>
          <a:blip r:embed="rId7"/>
          <a:stretch>
            <a:fillRect/>
          </a:stretch>
        </p:blipFill>
        <p:spPr>
          <a:xfrm>
            <a:off x="10156137" y="2523955"/>
            <a:ext cx="1468487" cy="948588"/>
          </a:xfrm>
          <a:prstGeom prst="rect">
            <a:avLst/>
          </a:prstGeom>
        </p:spPr>
      </p:pic>
      <p:pic>
        <p:nvPicPr>
          <p:cNvPr id="21" name="Picture 20"/>
          <p:cNvPicPr>
            <a:picLocks noChangeAspect="1"/>
          </p:cNvPicPr>
          <p:nvPr/>
        </p:nvPicPr>
        <p:blipFill>
          <a:blip r:embed="rId8"/>
          <a:stretch>
            <a:fillRect/>
          </a:stretch>
        </p:blipFill>
        <p:spPr>
          <a:xfrm>
            <a:off x="1" y="3743009"/>
            <a:ext cx="4822369" cy="3124661"/>
          </a:xfrm>
          <a:prstGeom prst="rect">
            <a:avLst/>
          </a:prstGeom>
        </p:spPr>
      </p:pic>
      <p:pic>
        <p:nvPicPr>
          <p:cNvPr id="22" name="Picture 21"/>
          <p:cNvPicPr>
            <a:picLocks noChangeAspect="1"/>
          </p:cNvPicPr>
          <p:nvPr/>
        </p:nvPicPr>
        <p:blipFill>
          <a:blip r:embed="rId9"/>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0"/>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pic>
        <p:nvPicPr>
          <p:cNvPr id="27" name="Picture 26"/>
          <p:cNvPicPr>
            <a:picLocks noChangeAspect="1"/>
          </p:cNvPicPr>
          <p:nvPr/>
        </p:nvPicPr>
        <p:blipFill>
          <a:blip r:embed="rId12"/>
          <a:stretch>
            <a:fillRect/>
          </a:stretch>
        </p:blipFill>
        <p:spPr>
          <a:xfrm>
            <a:off x="215340" y="3302216"/>
            <a:ext cx="2092500" cy="2340000"/>
          </a:xfrm>
          <a:prstGeom prst="rect">
            <a:avLst/>
          </a:prstGeom>
        </p:spPr>
      </p:pic>
      <p:pic>
        <p:nvPicPr>
          <p:cNvPr id="28" name="Picture 27"/>
          <p:cNvPicPr>
            <a:picLocks noChangeAspect="1"/>
          </p:cNvPicPr>
          <p:nvPr/>
        </p:nvPicPr>
        <p:blipFill>
          <a:blip r:embed="rId10"/>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3"/>
          <a:stretch>
            <a:fillRect/>
          </a:stretch>
        </p:blipFill>
        <p:spPr>
          <a:xfrm>
            <a:off x="2788810" y="4960912"/>
            <a:ext cx="447874" cy="1224190"/>
          </a:xfrm>
          <a:prstGeom prst="rect">
            <a:avLst/>
          </a:prstGeom>
        </p:spPr>
      </p:pic>
      <p:grpSp>
        <p:nvGrpSpPr>
          <p:cNvPr id="41" name="Group 40"/>
          <p:cNvGrpSpPr/>
          <p:nvPr/>
        </p:nvGrpSpPr>
        <p:grpSpPr>
          <a:xfrm>
            <a:off x="2606742" y="-984809"/>
            <a:ext cx="2712308" cy="4040125"/>
            <a:chOff x="768089" y="-1605208"/>
            <a:chExt cx="3768750" cy="5613751"/>
          </a:xfrm>
        </p:grpSpPr>
        <p:pic>
          <p:nvPicPr>
            <p:cNvPr id="42" name="Picture 41"/>
            <p:cNvPicPr>
              <a:picLocks noChangeAspect="1"/>
            </p:cNvPicPr>
            <p:nvPr/>
          </p:nvPicPr>
          <p:blipFill>
            <a:blip r:embed="rId14"/>
            <a:stretch>
              <a:fillRect/>
            </a:stretch>
          </p:blipFill>
          <p:spPr>
            <a:xfrm>
              <a:off x="768089" y="-1605208"/>
              <a:ext cx="3768750" cy="5613751"/>
            </a:xfrm>
            <a:prstGeom prst="rect">
              <a:avLst/>
            </a:prstGeom>
          </p:spPr>
        </p:pic>
        <p:pic>
          <p:nvPicPr>
            <p:cNvPr id="43" name="Picture 42"/>
            <p:cNvPicPr>
              <a:picLocks noChangeAspect="1"/>
            </p:cNvPicPr>
            <p:nvPr/>
          </p:nvPicPr>
          <p:blipFill>
            <a:blip r:embed="rId15"/>
            <a:stretch>
              <a:fillRect/>
            </a:stretch>
          </p:blipFill>
          <p:spPr>
            <a:xfrm>
              <a:off x="1755198" y="534480"/>
              <a:ext cx="1361250" cy="1800000"/>
            </a:xfrm>
            <a:prstGeom prst="rect">
              <a:avLst/>
            </a:prstGeom>
          </p:spPr>
        </p:pic>
      </p:grpSp>
      <p:grpSp>
        <p:nvGrpSpPr>
          <p:cNvPr id="47" name="Group 46"/>
          <p:cNvGrpSpPr/>
          <p:nvPr/>
        </p:nvGrpSpPr>
        <p:grpSpPr>
          <a:xfrm>
            <a:off x="5208428" y="713362"/>
            <a:ext cx="2712308" cy="4040125"/>
            <a:chOff x="768089" y="-1605208"/>
            <a:chExt cx="3768750" cy="5613751"/>
          </a:xfrm>
        </p:grpSpPr>
        <p:pic>
          <p:nvPicPr>
            <p:cNvPr id="48" name="Picture 47"/>
            <p:cNvPicPr>
              <a:picLocks noChangeAspect="1"/>
            </p:cNvPicPr>
            <p:nvPr/>
          </p:nvPicPr>
          <p:blipFill>
            <a:blip r:embed="rId14"/>
            <a:stretch>
              <a:fillRect/>
            </a:stretch>
          </p:blipFill>
          <p:spPr>
            <a:xfrm>
              <a:off x="768089" y="-1605208"/>
              <a:ext cx="3768750" cy="5613751"/>
            </a:xfrm>
            <a:prstGeom prst="rect">
              <a:avLst/>
            </a:prstGeom>
          </p:spPr>
        </p:pic>
        <p:pic>
          <p:nvPicPr>
            <p:cNvPr id="49" name="Picture 48"/>
            <p:cNvPicPr>
              <a:picLocks noChangeAspect="1"/>
            </p:cNvPicPr>
            <p:nvPr/>
          </p:nvPicPr>
          <p:blipFill>
            <a:blip r:embed="rId15"/>
            <a:stretch>
              <a:fillRect/>
            </a:stretch>
          </p:blipFill>
          <p:spPr>
            <a:xfrm>
              <a:off x="1755198" y="534480"/>
              <a:ext cx="1361250" cy="1800000"/>
            </a:xfrm>
            <a:prstGeom prst="rect">
              <a:avLst/>
            </a:prstGeom>
          </p:spPr>
        </p:pic>
      </p:grpSp>
      <p:grpSp>
        <p:nvGrpSpPr>
          <p:cNvPr id="50" name="Group 49"/>
          <p:cNvGrpSpPr/>
          <p:nvPr/>
        </p:nvGrpSpPr>
        <p:grpSpPr>
          <a:xfrm>
            <a:off x="7777456" y="2422420"/>
            <a:ext cx="2712308" cy="4040125"/>
            <a:chOff x="768089" y="-1605208"/>
            <a:chExt cx="3768750" cy="5613751"/>
          </a:xfrm>
        </p:grpSpPr>
        <p:pic>
          <p:nvPicPr>
            <p:cNvPr id="51" name="Picture 50"/>
            <p:cNvPicPr>
              <a:picLocks noChangeAspect="1"/>
            </p:cNvPicPr>
            <p:nvPr/>
          </p:nvPicPr>
          <p:blipFill>
            <a:blip r:embed="rId14"/>
            <a:stretch>
              <a:fillRect/>
            </a:stretch>
          </p:blipFill>
          <p:spPr>
            <a:xfrm>
              <a:off x="768089" y="-1605208"/>
              <a:ext cx="3768750" cy="5613751"/>
            </a:xfrm>
            <a:prstGeom prst="rect">
              <a:avLst/>
            </a:prstGeom>
          </p:spPr>
        </p:pic>
        <p:pic>
          <p:nvPicPr>
            <p:cNvPr id="52" name="Picture 51"/>
            <p:cNvPicPr>
              <a:picLocks noChangeAspect="1"/>
            </p:cNvPicPr>
            <p:nvPr/>
          </p:nvPicPr>
          <p:blipFill>
            <a:blip r:embed="rId15"/>
            <a:stretch>
              <a:fillRect/>
            </a:stretch>
          </p:blipFill>
          <p:spPr>
            <a:xfrm>
              <a:off x="1755198" y="534480"/>
              <a:ext cx="1361250" cy="1800000"/>
            </a:xfrm>
            <a:prstGeom prst="rect">
              <a:avLst/>
            </a:prstGeom>
          </p:spPr>
        </p:pic>
      </p:grpSp>
      <p:pic>
        <p:nvPicPr>
          <p:cNvPr id="54" name="Picture 53"/>
          <p:cNvPicPr>
            <a:picLocks noChangeAspect="1"/>
          </p:cNvPicPr>
          <p:nvPr/>
        </p:nvPicPr>
        <p:blipFill>
          <a:blip r:embed="rId16"/>
          <a:stretch>
            <a:fillRect/>
          </a:stretch>
        </p:blipFill>
        <p:spPr>
          <a:xfrm>
            <a:off x="4607525" y="3601907"/>
            <a:ext cx="2340000" cy="1473750"/>
          </a:xfrm>
          <a:prstGeom prst="rect">
            <a:avLst/>
          </a:prstGeom>
        </p:spPr>
      </p:pic>
      <p:sp>
        <p:nvSpPr>
          <p:cNvPr id="39" name="TextBox 38"/>
          <p:cNvSpPr txBox="1"/>
          <p:nvPr/>
        </p:nvSpPr>
        <p:spPr>
          <a:xfrm>
            <a:off x="581025" y="1657972"/>
            <a:ext cx="360045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err="1" smtClean="0">
                <a:ln>
                  <a:noFill/>
                </a:ln>
                <a:solidFill>
                  <a:srgbClr val="FFFFFF"/>
                </a:solidFill>
                <a:effectLst/>
                <a:uLnTx/>
                <a:uFillTx/>
                <a:latin typeface="Segoe UI Light" panose="020B0502040204020203" pitchFamily="34" charset="0"/>
                <a:ea typeface="+mn-ea"/>
                <a:cs typeface="Segoe UI Light" panose="020B0502040204020203" pitchFamily="34" charset="0"/>
              </a:rPr>
              <a:t>AutoScale</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31" name="Group 30"/>
          <p:cNvGrpSpPr/>
          <p:nvPr/>
        </p:nvGrpSpPr>
        <p:grpSpPr>
          <a:xfrm>
            <a:off x="9787568" y="-79793"/>
            <a:ext cx="934789" cy="1104751"/>
            <a:chOff x="9827324" y="-40038"/>
            <a:chExt cx="934789" cy="1104751"/>
          </a:xfrm>
        </p:grpSpPr>
        <p:pic>
          <p:nvPicPr>
            <p:cNvPr id="40" name="Picture 39"/>
            <p:cNvPicPr>
              <a:picLocks noChangeAspect="1"/>
            </p:cNvPicPr>
            <p:nvPr/>
          </p:nvPicPr>
          <p:blipFill>
            <a:blip r:embed="rId10"/>
            <a:stretch>
              <a:fillRect/>
            </a:stretch>
          </p:blipFill>
          <p:spPr>
            <a:xfrm>
              <a:off x="9827324" y="-40038"/>
              <a:ext cx="934789" cy="1104751"/>
            </a:xfrm>
            <a:prstGeom prst="rect">
              <a:avLst/>
            </a:prstGeom>
          </p:spPr>
        </p:pic>
        <p:pic>
          <p:nvPicPr>
            <p:cNvPr id="44" name="Picture 43"/>
            <p:cNvPicPr>
              <a:picLocks noChangeAspect="1"/>
            </p:cNvPicPr>
            <p:nvPr/>
          </p:nvPicPr>
          <p:blipFill>
            <a:blip r:embed="rId17"/>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41843536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par>
                                <p:cTn id="12" presetID="10" presetClass="entr" presetSubtype="0" fill="hold" nodeType="withEffect">
                                  <p:stCondLst>
                                    <p:cond delay="250"/>
                                  </p:stCondLst>
                                  <p:childTnLst>
                                    <p:set>
                                      <p:cBhvr>
                                        <p:cTn id="13" dur="1" fill="hold">
                                          <p:stCondLst>
                                            <p:cond delay="0"/>
                                          </p:stCondLst>
                                        </p:cTn>
                                        <p:tgtEl>
                                          <p:spTgt spid="50"/>
                                        </p:tgtEl>
                                        <p:attrNameLst>
                                          <p:attrName>style.visibility</p:attrName>
                                        </p:attrNameLst>
                                      </p:cBhvr>
                                      <p:to>
                                        <p:strVal val="visible"/>
                                      </p:to>
                                    </p:set>
                                    <p:animEffect transition="in" filter="fade">
                                      <p:cBhvr>
                                        <p:cTn id="1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p:cNvPicPr>
            <a:picLocks noChangeAspect="1"/>
          </p:cNvPicPr>
          <p:nvPr/>
        </p:nvPicPr>
        <p:blipFill>
          <a:blip r:embed="rId2"/>
          <a:stretch>
            <a:fillRect/>
          </a:stretch>
        </p:blipFill>
        <p:spPr>
          <a:xfrm>
            <a:off x="5276712" y="-373535"/>
            <a:ext cx="7264070" cy="4706299"/>
          </a:xfrm>
          <a:prstGeom prst="rect">
            <a:avLst/>
          </a:prstGeom>
        </p:spPr>
      </p:pic>
      <p:grpSp>
        <p:nvGrpSpPr>
          <p:cNvPr id="39" name="Group 38"/>
          <p:cNvGrpSpPr/>
          <p:nvPr/>
        </p:nvGrpSpPr>
        <p:grpSpPr>
          <a:xfrm>
            <a:off x="26828" y="-2672094"/>
            <a:ext cx="2712308" cy="4040125"/>
            <a:chOff x="768089" y="-1605208"/>
            <a:chExt cx="3768750" cy="5613751"/>
          </a:xfrm>
        </p:grpSpPr>
        <p:pic>
          <p:nvPicPr>
            <p:cNvPr id="44" name="Picture 43"/>
            <p:cNvPicPr>
              <a:picLocks noChangeAspect="1"/>
            </p:cNvPicPr>
            <p:nvPr/>
          </p:nvPicPr>
          <p:blipFill>
            <a:blip r:embed="rId3"/>
            <a:stretch>
              <a:fillRect/>
            </a:stretch>
          </p:blipFill>
          <p:spPr>
            <a:xfrm>
              <a:off x="768089" y="-1605208"/>
              <a:ext cx="3768750" cy="5613751"/>
            </a:xfrm>
            <a:prstGeom prst="rect">
              <a:avLst/>
            </a:prstGeom>
          </p:spPr>
        </p:pic>
        <p:pic>
          <p:nvPicPr>
            <p:cNvPr id="45" name="Picture 44"/>
            <p:cNvPicPr>
              <a:picLocks noChangeAspect="1"/>
            </p:cNvPicPr>
            <p:nvPr/>
          </p:nvPicPr>
          <p:blipFill>
            <a:blip r:embed="rId4"/>
            <a:stretch>
              <a:fillRect/>
            </a:stretch>
          </p:blipFill>
          <p:spPr>
            <a:xfrm>
              <a:off x="1755198" y="534480"/>
              <a:ext cx="1361250" cy="1800000"/>
            </a:xfrm>
            <a:prstGeom prst="rect">
              <a:avLst/>
            </a:prstGeom>
          </p:spPr>
        </p:pic>
      </p:grpSp>
      <p:pic>
        <p:nvPicPr>
          <p:cNvPr id="26" name="Picture 25"/>
          <p:cNvPicPr>
            <a:picLocks noChangeAspect="1"/>
          </p:cNvPicPr>
          <p:nvPr/>
        </p:nvPicPr>
        <p:blipFill>
          <a:blip r:embed="rId5"/>
          <a:stretch>
            <a:fillRect/>
          </a:stretch>
        </p:blipFill>
        <p:spPr>
          <a:xfrm>
            <a:off x="2845363" y="4756882"/>
            <a:ext cx="2172796" cy="1400076"/>
          </a:xfrm>
          <a:prstGeom prst="rect">
            <a:avLst/>
          </a:prstGeom>
        </p:spPr>
      </p:pic>
      <p:pic>
        <p:nvPicPr>
          <p:cNvPr id="30" name="Picture 29"/>
          <p:cNvPicPr>
            <a:picLocks noChangeAspect="1"/>
          </p:cNvPicPr>
          <p:nvPr/>
        </p:nvPicPr>
        <p:blipFill>
          <a:blip r:embed="rId6"/>
          <a:stretch>
            <a:fillRect/>
          </a:stretch>
        </p:blipFill>
        <p:spPr>
          <a:xfrm>
            <a:off x="6609503" y="0"/>
            <a:ext cx="5582498" cy="3614057"/>
          </a:xfrm>
          <a:prstGeom prst="rect">
            <a:avLst/>
          </a:prstGeom>
        </p:spPr>
      </p:pic>
      <p:pic>
        <p:nvPicPr>
          <p:cNvPr id="38" name="Picture 37"/>
          <p:cNvPicPr>
            <a:picLocks noChangeAspect="1"/>
          </p:cNvPicPr>
          <p:nvPr/>
        </p:nvPicPr>
        <p:blipFill>
          <a:blip r:embed="rId7"/>
          <a:stretch>
            <a:fillRect/>
          </a:stretch>
        </p:blipFill>
        <p:spPr>
          <a:xfrm>
            <a:off x="8314314" y="267557"/>
            <a:ext cx="3327550" cy="2147980"/>
          </a:xfrm>
          <a:prstGeom prst="rect">
            <a:avLst/>
          </a:prstGeom>
        </p:spPr>
      </p:pic>
      <p:pic>
        <p:nvPicPr>
          <p:cNvPr id="18" name="Picture 17"/>
          <p:cNvPicPr>
            <a:picLocks noChangeAspect="1"/>
          </p:cNvPicPr>
          <p:nvPr/>
        </p:nvPicPr>
        <p:blipFill>
          <a:blip r:embed="rId8"/>
          <a:stretch>
            <a:fillRect/>
          </a:stretch>
        </p:blipFill>
        <p:spPr>
          <a:xfrm>
            <a:off x="3412002" y="1562735"/>
            <a:ext cx="6671087" cy="4310549"/>
          </a:xfrm>
          <a:prstGeom prst="rect">
            <a:avLst/>
          </a:prstGeom>
        </p:spPr>
      </p:pic>
      <p:pic>
        <p:nvPicPr>
          <p:cNvPr id="16" name="Picture 15"/>
          <p:cNvPicPr>
            <a:picLocks noChangeAspect="1"/>
          </p:cNvPicPr>
          <p:nvPr/>
        </p:nvPicPr>
        <p:blipFill>
          <a:blip r:embed="rId9"/>
          <a:stretch>
            <a:fillRect/>
          </a:stretch>
        </p:blipFill>
        <p:spPr>
          <a:xfrm>
            <a:off x="10156137" y="2523955"/>
            <a:ext cx="1468487" cy="948588"/>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0"/>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grpSp>
        <p:nvGrpSpPr>
          <p:cNvPr id="41" name="Group 40"/>
          <p:cNvGrpSpPr/>
          <p:nvPr/>
        </p:nvGrpSpPr>
        <p:grpSpPr>
          <a:xfrm>
            <a:off x="2606742" y="-984809"/>
            <a:ext cx="2712308" cy="4040125"/>
            <a:chOff x="768089" y="-1605208"/>
            <a:chExt cx="3768750" cy="5613751"/>
          </a:xfrm>
        </p:grpSpPr>
        <p:pic>
          <p:nvPicPr>
            <p:cNvPr id="42" name="Picture 41"/>
            <p:cNvPicPr>
              <a:picLocks noChangeAspect="1"/>
            </p:cNvPicPr>
            <p:nvPr/>
          </p:nvPicPr>
          <p:blipFill>
            <a:blip r:embed="rId3"/>
            <a:stretch>
              <a:fillRect/>
            </a:stretch>
          </p:blipFill>
          <p:spPr>
            <a:xfrm>
              <a:off x="768089" y="-1605208"/>
              <a:ext cx="3768750" cy="5613751"/>
            </a:xfrm>
            <a:prstGeom prst="rect">
              <a:avLst/>
            </a:prstGeom>
          </p:spPr>
        </p:pic>
        <p:pic>
          <p:nvPicPr>
            <p:cNvPr id="43" name="Picture 42"/>
            <p:cNvPicPr>
              <a:picLocks noChangeAspect="1"/>
            </p:cNvPicPr>
            <p:nvPr/>
          </p:nvPicPr>
          <p:blipFill>
            <a:blip r:embed="rId4"/>
            <a:stretch>
              <a:fillRect/>
            </a:stretch>
          </p:blipFill>
          <p:spPr>
            <a:xfrm>
              <a:off x="1755198" y="534480"/>
              <a:ext cx="1361250" cy="1800000"/>
            </a:xfrm>
            <a:prstGeom prst="rect">
              <a:avLst/>
            </a:prstGeom>
          </p:spPr>
        </p:pic>
      </p:grpSp>
      <p:grpSp>
        <p:nvGrpSpPr>
          <p:cNvPr id="47" name="Group 46"/>
          <p:cNvGrpSpPr/>
          <p:nvPr/>
        </p:nvGrpSpPr>
        <p:grpSpPr>
          <a:xfrm>
            <a:off x="5208428" y="713362"/>
            <a:ext cx="2712308" cy="4040125"/>
            <a:chOff x="768089" y="-1605208"/>
            <a:chExt cx="3768750" cy="5613751"/>
          </a:xfrm>
        </p:grpSpPr>
        <p:pic>
          <p:nvPicPr>
            <p:cNvPr id="48" name="Picture 47"/>
            <p:cNvPicPr>
              <a:picLocks noChangeAspect="1"/>
            </p:cNvPicPr>
            <p:nvPr/>
          </p:nvPicPr>
          <p:blipFill>
            <a:blip r:embed="rId3"/>
            <a:stretch>
              <a:fillRect/>
            </a:stretch>
          </p:blipFill>
          <p:spPr>
            <a:xfrm>
              <a:off x="768089" y="-1605208"/>
              <a:ext cx="3768750" cy="5613751"/>
            </a:xfrm>
            <a:prstGeom prst="rect">
              <a:avLst/>
            </a:prstGeom>
          </p:spPr>
        </p:pic>
        <p:pic>
          <p:nvPicPr>
            <p:cNvPr id="49" name="Picture 48"/>
            <p:cNvPicPr>
              <a:picLocks noChangeAspect="1"/>
            </p:cNvPicPr>
            <p:nvPr/>
          </p:nvPicPr>
          <p:blipFill>
            <a:blip r:embed="rId4"/>
            <a:stretch>
              <a:fillRect/>
            </a:stretch>
          </p:blipFill>
          <p:spPr>
            <a:xfrm>
              <a:off x="1755198" y="534480"/>
              <a:ext cx="1361250" cy="1800000"/>
            </a:xfrm>
            <a:prstGeom prst="rect">
              <a:avLst/>
            </a:prstGeom>
          </p:spPr>
        </p:pic>
      </p:grpSp>
      <p:grpSp>
        <p:nvGrpSpPr>
          <p:cNvPr id="50" name="Group 49"/>
          <p:cNvGrpSpPr/>
          <p:nvPr/>
        </p:nvGrpSpPr>
        <p:grpSpPr>
          <a:xfrm>
            <a:off x="7777456" y="2422420"/>
            <a:ext cx="2712308" cy="4040125"/>
            <a:chOff x="768089" y="-1605208"/>
            <a:chExt cx="3768750" cy="5613751"/>
          </a:xfrm>
        </p:grpSpPr>
        <p:pic>
          <p:nvPicPr>
            <p:cNvPr id="51" name="Picture 50"/>
            <p:cNvPicPr>
              <a:picLocks noChangeAspect="1"/>
            </p:cNvPicPr>
            <p:nvPr/>
          </p:nvPicPr>
          <p:blipFill>
            <a:blip r:embed="rId3"/>
            <a:stretch>
              <a:fillRect/>
            </a:stretch>
          </p:blipFill>
          <p:spPr>
            <a:xfrm>
              <a:off x="768089" y="-1605208"/>
              <a:ext cx="3768750" cy="5613751"/>
            </a:xfrm>
            <a:prstGeom prst="rect">
              <a:avLst/>
            </a:prstGeom>
          </p:spPr>
        </p:pic>
        <p:pic>
          <p:nvPicPr>
            <p:cNvPr id="52" name="Picture 51"/>
            <p:cNvPicPr>
              <a:picLocks noChangeAspect="1"/>
            </p:cNvPicPr>
            <p:nvPr/>
          </p:nvPicPr>
          <p:blipFill>
            <a:blip r:embed="rId4"/>
            <a:stretch>
              <a:fillRect/>
            </a:stretch>
          </p:blipFill>
          <p:spPr>
            <a:xfrm>
              <a:off x="1755198" y="534480"/>
              <a:ext cx="1361250" cy="1800000"/>
            </a:xfrm>
            <a:prstGeom prst="rect">
              <a:avLst/>
            </a:prstGeom>
          </p:spPr>
        </p:pic>
      </p:grpSp>
      <p:grpSp>
        <p:nvGrpSpPr>
          <p:cNvPr id="46" name="Group 45"/>
          <p:cNvGrpSpPr/>
          <p:nvPr/>
        </p:nvGrpSpPr>
        <p:grpSpPr>
          <a:xfrm>
            <a:off x="10357370" y="4131478"/>
            <a:ext cx="2712308" cy="4040125"/>
            <a:chOff x="768089" y="-1605208"/>
            <a:chExt cx="3768750" cy="5613751"/>
          </a:xfrm>
        </p:grpSpPr>
        <p:pic>
          <p:nvPicPr>
            <p:cNvPr id="54" name="Picture 53"/>
            <p:cNvPicPr>
              <a:picLocks noChangeAspect="1"/>
            </p:cNvPicPr>
            <p:nvPr/>
          </p:nvPicPr>
          <p:blipFill>
            <a:blip r:embed="rId3"/>
            <a:stretch>
              <a:fillRect/>
            </a:stretch>
          </p:blipFill>
          <p:spPr>
            <a:xfrm>
              <a:off x="768089" y="-1605208"/>
              <a:ext cx="3768750" cy="5613751"/>
            </a:xfrm>
            <a:prstGeom prst="rect">
              <a:avLst/>
            </a:prstGeom>
          </p:spPr>
        </p:pic>
        <p:pic>
          <p:nvPicPr>
            <p:cNvPr id="55" name="Picture 54"/>
            <p:cNvPicPr>
              <a:picLocks noChangeAspect="1"/>
            </p:cNvPicPr>
            <p:nvPr/>
          </p:nvPicPr>
          <p:blipFill>
            <a:blip r:embed="rId4"/>
            <a:stretch>
              <a:fillRect/>
            </a:stretch>
          </p:blipFill>
          <p:spPr>
            <a:xfrm>
              <a:off x="1755198" y="534480"/>
              <a:ext cx="1361250" cy="1800000"/>
            </a:xfrm>
            <a:prstGeom prst="rect">
              <a:avLst/>
            </a:prstGeom>
          </p:spPr>
        </p:pic>
      </p:grpSp>
      <p:grpSp>
        <p:nvGrpSpPr>
          <p:cNvPr id="56" name="Group 55"/>
          <p:cNvGrpSpPr/>
          <p:nvPr/>
        </p:nvGrpSpPr>
        <p:grpSpPr>
          <a:xfrm>
            <a:off x="2606742" y="-3412323"/>
            <a:ext cx="2712308" cy="4040125"/>
            <a:chOff x="768089" y="-1605208"/>
            <a:chExt cx="3768750" cy="5613751"/>
          </a:xfrm>
        </p:grpSpPr>
        <p:pic>
          <p:nvPicPr>
            <p:cNvPr id="57" name="Picture 56"/>
            <p:cNvPicPr>
              <a:picLocks noChangeAspect="1"/>
            </p:cNvPicPr>
            <p:nvPr/>
          </p:nvPicPr>
          <p:blipFill>
            <a:blip r:embed="rId3"/>
            <a:stretch>
              <a:fillRect/>
            </a:stretch>
          </p:blipFill>
          <p:spPr>
            <a:xfrm>
              <a:off x="768089" y="-1605208"/>
              <a:ext cx="3768750" cy="5613751"/>
            </a:xfrm>
            <a:prstGeom prst="rect">
              <a:avLst/>
            </a:prstGeom>
          </p:spPr>
        </p:pic>
        <p:pic>
          <p:nvPicPr>
            <p:cNvPr id="58" name="Picture 57"/>
            <p:cNvPicPr>
              <a:picLocks noChangeAspect="1"/>
            </p:cNvPicPr>
            <p:nvPr/>
          </p:nvPicPr>
          <p:blipFill>
            <a:blip r:embed="rId4"/>
            <a:stretch>
              <a:fillRect/>
            </a:stretch>
          </p:blipFill>
          <p:spPr>
            <a:xfrm>
              <a:off x="1755198" y="534480"/>
              <a:ext cx="1361250" cy="1800000"/>
            </a:xfrm>
            <a:prstGeom prst="rect">
              <a:avLst/>
            </a:prstGeom>
          </p:spPr>
        </p:pic>
      </p:grpSp>
      <p:grpSp>
        <p:nvGrpSpPr>
          <p:cNvPr id="59" name="Group 58"/>
          <p:cNvGrpSpPr/>
          <p:nvPr/>
        </p:nvGrpSpPr>
        <p:grpSpPr>
          <a:xfrm>
            <a:off x="5208428" y="-1714152"/>
            <a:ext cx="2712308" cy="4040125"/>
            <a:chOff x="768089" y="-1605208"/>
            <a:chExt cx="3768750" cy="5613751"/>
          </a:xfrm>
        </p:grpSpPr>
        <p:pic>
          <p:nvPicPr>
            <p:cNvPr id="60" name="Picture 59"/>
            <p:cNvPicPr>
              <a:picLocks noChangeAspect="1"/>
            </p:cNvPicPr>
            <p:nvPr/>
          </p:nvPicPr>
          <p:blipFill>
            <a:blip r:embed="rId3"/>
            <a:stretch>
              <a:fillRect/>
            </a:stretch>
          </p:blipFill>
          <p:spPr>
            <a:xfrm>
              <a:off x="768089" y="-1605208"/>
              <a:ext cx="3768750" cy="5613751"/>
            </a:xfrm>
            <a:prstGeom prst="rect">
              <a:avLst/>
            </a:prstGeom>
          </p:spPr>
        </p:pic>
        <p:pic>
          <p:nvPicPr>
            <p:cNvPr id="61" name="Picture 60"/>
            <p:cNvPicPr>
              <a:picLocks noChangeAspect="1"/>
            </p:cNvPicPr>
            <p:nvPr/>
          </p:nvPicPr>
          <p:blipFill>
            <a:blip r:embed="rId4"/>
            <a:stretch>
              <a:fillRect/>
            </a:stretch>
          </p:blipFill>
          <p:spPr>
            <a:xfrm>
              <a:off x="1755198" y="534480"/>
              <a:ext cx="1361250" cy="1800000"/>
            </a:xfrm>
            <a:prstGeom prst="rect">
              <a:avLst/>
            </a:prstGeom>
          </p:spPr>
        </p:pic>
      </p:grpSp>
      <p:grpSp>
        <p:nvGrpSpPr>
          <p:cNvPr id="62" name="Group 61"/>
          <p:cNvGrpSpPr/>
          <p:nvPr/>
        </p:nvGrpSpPr>
        <p:grpSpPr>
          <a:xfrm>
            <a:off x="7777456" y="-5094"/>
            <a:ext cx="2712308" cy="4040125"/>
            <a:chOff x="768089" y="-1605208"/>
            <a:chExt cx="3768750" cy="5613751"/>
          </a:xfrm>
        </p:grpSpPr>
        <p:pic>
          <p:nvPicPr>
            <p:cNvPr id="63" name="Picture 62"/>
            <p:cNvPicPr>
              <a:picLocks noChangeAspect="1"/>
            </p:cNvPicPr>
            <p:nvPr/>
          </p:nvPicPr>
          <p:blipFill>
            <a:blip r:embed="rId3"/>
            <a:stretch>
              <a:fillRect/>
            </a:stretch>
          </p:blipFill>
          <p:spPr>
            <a:xfrm>
              <a:off x="768089" y="-1605208"/>
              <a:ext cx="3768750" cy="5613751"/>
            </a:xfrm>
            <a:prstGeom prst="rect">
              <a:avLst/>
            </a:prstGeom>
          </p:spPr>
        </p:pic>
        <p:pic>
          <p:nvPicPr>
            <p:cNvPr id="64" name="Picture 63"/>
            <p:cNvPicPr>
              <a:picLocks noChangeAspect="1"/>
            </p:cNvPicPr>
            <p:nvPr/>
          </p:nvPicPr>
          <p:blipFill>
            <a:blip r:embed="rId4"/>
            <a:stretch>
              <a:fillRect/>
            </a:stretch>
          </p:blipFill>
          <p:spPr>
            <a:xfrm>
              <a:off x="1755198" y="534480"/>
              <a:ext cx="1361250" cy="1800000"/>
            </a:xfrm>
            <a:prstGeom prst="rect">
              <a:avLst/>
            </a:prstGeom>
          </p:spPr>
        </p:pic>
      </p:grpSp>
      <p:grpSp>
        <p:nvGrpSpPr>
          <p:cNvPr id="65" name="Group 64"/>
          <p:cNvGrpSpPr/>
          <p:nvPr/>
        </p:nvGrpSpPr>
        <p:grpSpPr>
          <a:xfrm>
            <a:off x="10357370" y="1703964"/>
            <a:ext cx="2712308" cy="4040125"/>
            <a:chOff x="768089" y="-1605208"/>
            <a:chExt cx="3768750" cy="5613751"/>
          </a:xfrm>
        </p:grpSpPr>
        <p:pic>
          <p:nvPicPr>
            <p:cNvPr id="66" name="Picture 65"/>
            <p:cNvPicPr>
              <a:picLocks noChangeAspect="1"/>
            </p:cNvPicPr>
            <p:nvPr/>
          </p:nvPicPr>
          <p:blipFill>
            <a:blip r:embed="rId3"/>
            <a:stretch>
              <a:fillRect/>
            </a:stretch>
          </p:blipFill>
          <p:spPr>
            <a:xfrm>
              <a:off x="768089" y="-1605208"/>
              <a:ext cx="3768750" cy="5613751"/>
            </a:xfrm>
            <a:prstGeom prst="rect">
              <a:avLst/>
            </a:prstGeom>
          </p:spPr>
        </p:pic>
        <p:pic>
          <p:nvPicPr>
            <p:cNvPr id="67" name="Picture 66"/>
            <p:cNvPicPr>
              <a:picLocks noChangeAspect="1"/>
            </p:cNvPicPr>
            <p:nvPr/>
          </p:nvPicPr>
          <p:blipFill>
            <a:blip r:embed="rId4"/>
            <a:stretch>
              <a:fillRect/>
            </a:stretch>
          </p:blipFill>
          <p:spPr>
            <a:xfrm>
              <a:off x="1755198" y="534480"/>
              <a:ext cx="1361250" cy="1800000"/>
            </a:xfrm>
            <a:prstGeom prst="rect">
              <a:avLst/>
            </a:prstGeom>
          </p:spPr>
        </p:pic>
      </p:grpSp>
      <p:pic>
        <p:nvPicPr>
          <p:cNvPr id="77" name="Picture 76"/>
          <p:cNvPicPr>
            <a:picLocks noChangeAspect="1"/>
          </p:cNvPicPr>
          <p:nvPr/>
        </p:nvPicPr>
        <p:blipFill>
          <a:blip r:embed="rId5"/>
          <a:stretch>
            <a:fillRect/>
          </a:stretch>
        </p:blipFill>
        <p:spPr>
          <a:xfrm>
            <a:off x="3759299" y="5344301"/>
            <a:ext cx="2172796" cy="1400076"/>
          </a:xfrm>
          <a:prstGeom prst="rect">
            <a:avLst/>
          </a:prstGeom>
        </p:spPr>
      </p:pic>
      <p:pic>
        <p:nvPicPr>
          <p:cNvPr id="78" name="Picture 77"/>
          <p:cNvPicPr>
            <a:picLocks noChangeAspect="1"/>
          </p:cNvPicPr>
          <p:nvPr/>
        </p:nvPicPr>
        <p:blipFill>
          <a:blip r:embed="rId5"/>
          <a:stretch>
            <a:fillRect/>
          </a:stretch>
        </p:blipFill>
        <p:spPr>
          <a:xfrm>
            <a:off x="1908380" y="4146760"/>
            <a:ext cx="2172796" cy="1400076"/>
          </a:xfrm>
          <a:prstGeom prst="rect">
            <a:avLst/>
          </a:prstGeom>
        </p:spPr>
      </p:pic>
      <p:pic>
        <p:nvPicPr>
          <p:cNvPr id="79" name="Picture 78"/>
          <p:cNvPicPr>
            <a:picLocks noChangeAspect="1"/>
          </p:cNvPicPr>
          <p:nvPr/>
        </p:nvPicPr>
        <p:blipFill>
          <a:blip r:embed="rId12"/>
          <a:stretch>
            <a:fillRect/>
          </a:stretch>
        </p:blipFill>
        <p:spPr>
          <a:xfrm>
            <a:off x="1" y="3743009"/>
            <a:ext cx="4822369" cy="3124661"/>
          </a:xfrm>
          <a:prstGeom prst="rect">
            <a:avLst/>
          </a:prstGeom>
        </p:spPr>
      </p:pic>
      <p:pic>
        <p:nvPicPr>
          <p:cNvPr id="80" name="Picture 79"/>
          <p:cNvPicPr>
            <a:picLocks noChangeAspect="1"/>
          </p:cNvPicPr>
          <p:nvPr/>
        </p:nvPicPr>
        <p:blipFill>
          <a:blip r:embed="rId13"/>
          <a:stretch>
            <a:fillRect/>
          </a:stretch>
        </p:blipFill>
        <p:spPr>
          <a:xfrm>
            <a:off x="257977" y="5707769"/>
            <a:ext cx="1481228" cy="956627"/>
          </a:xfrm>
          <a:prstGeom prst="rect">
            <a:avLst/>
          </a:prstGeom>
        </p:spPr>
      </p:pic>
      <p:pic>
        <p:nvPicPr>
          <p:cNvPr id="81" name="Picture 80"/>
          <p:cNvPicPr>
            <a:picLocks noChangeAspect="1"/>
          </p:cNvPicPr>
          <p:nvPr/>
        </p:nvPicPr>
        <p:blipFill>
          <a:blip r:embed="rId14"/>
          <a:stretch>
            <a:fillRect/>
          </a:stretch>
        </p:blipFill>
        <p:spPr>
          <a:xfrm>
            <a:off x="215340" y="3302216"/>
            <a:ext cx="2092500" cy="2340000"/>
          </a:xfrm>
          <a:prstGeom prst="rect">
            <a:avLst/>
          </a:prstGeom>
        </p:spPr>
      </p:pic>
      <p:pic>
        <p:nvPicPr>
          <p:cNvPr id="82" name="Picture 81"/>
          <p:cNvPicPr>
            <a:picLocks noChangeAspect="1"/>
          </p:cNvPicPr>
          <p:nvPr/>
        </p:nvPicPr>
        <p:blipFill>
          <a:blip r:embed="rId10"/>
          <a:stretch>
            <a:fillRect/>
          </a:stretch>
        </p:blipFill>
        <p:spPr>
          <a:xfrm>
            <a:off x="1447611" y="5043761"/>
            <a:ext cx="1237500" cy="1462500"/>
          </a:xfrm>
          <a:prstGeom prst="rect">
            <a:avLst/>
          </a:prstGeom>
        </p:spPr>
      </p:pic>
      <p:pic>
        <p:nvPicPr>
          <p:cNvPr id="83" name="Picture 82"/>
          <p:cNvPicPr>
            <a:picLocks noChangeAspect="1"/>
          </p:cNvPicPr>
          <p:nvPr/>
        </p:nvPicPr>
        <p:blipFill>
          <a:blip r:embed="rId15"/>
          <a:stretch>
            <a:fillRect/>
          </a:stretch>
        </p:blipFill>
        <p:spPr>
          <a:xfrm>
            <a:off x="2788810" y="4960912"/>
            <a:ext cx="447874" cy="1224190"/>
          </a:xfrm>
          <a:prstGeom prst="rect">
            <a:avLst/>
          </a:prstGeom>
        </p:spPr>
      </p:pic>
      <p:pic>
        <p:nvPicPr>
          <p:cNvPr id="84" name="Picture 83"/>
          <p:cNvPicPr>
            <a:picLocks noChangeAspect="1"/>
          </p:cNvPicPr>
          <p:nvPr/>
        </p:nvPicPr>
        <p:blipFill>
          <a:blip r:embed="rId16"/>
          <a:stretch>
            <a:fillRect/>
          </a:stretch>
        </p:blipFill>
        <p:spPr>
          <a:xfrm>
            <a:off x="4607525" y="3601907"/>
            <a:ext cx="2340000" cy="1473750"/>
          </a:xfrm>
          <a:prstGeom prst="rect">
            <a:avLst/>
          </a:prstGeom>
        </p:spPr>
      </p:pic>
      <p:sp>
        <p:nvSpPr>
          <p:cNvPr id="85" name="TextBox 84"/>
          <p:cNvSpPr txBox="1"/>
          <p:nvPr/>
        </p:nvSpPr>
        <p:spPr>
          <a:xfrm>
            <a:off x="581025" y="1657972"/>
            <a:ext cx="360045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err="1" smtClean="0">
                <a:ln>
                  <a:noFill/>
                </a:ln>
                <a:solidFill>
                  <a:srgbClr val="FFFFFF"/>
                </a:solidFill>
                <a:effectLst/>
                <a:uLnTx/>
                <a:uFillTx/>
                <a:latin typeface="Segoe UI Light" panose="020B0502040204020203" pitchFamily="34" charset="0"/>
                <a:ea typeface="+mn-ea"/>
                <a:cs typeface="Segoe UI Light" panose="020B0502040204020203" pitchFamily="34" charset="0"/>
              </a:rPr>
              <a:t>AutoScale</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89" name="Group 88"/>
          <p:cNvGrpSpPr/>
          <p:nvPr/>
        </p:nvGrpSpPr>
        <p:grpSpPr>
          <a:xfrm>
            <a:off x="9787568" y="-79793"/>
            <a:ext cx="934789" cy="1104751"/>
            <a:chOff x="9827324" y="-40038"/>
            <a:chExt cx="934789" cy="1104751"/>
          </a:xfrm>
        </p:grpSpPr>
        <p:pic>
          <p:nvPicPr>
            <p:cNvPr id="90" name="Picture 89"/>
            <p:cNvPicPr>
              <a:picLocks noChangeAspect="1"/>
            </p:cNvPicPr>
            <p:nvPr/>
          </p:nvPicPr>
          <p:blipFill>
            <a:blip r:embed="rId10"/>
            <a:stretch>
              <a:fillRect/>
            </a:stretch>
          </p:blipFill>
          <p:spPr>
            <a:xfrm>
              <a:off x="9827324" y="-40038"/>
              <a:ext cx="934789" cy="1104751"/>
            </a:xfrm>
            <a:prstGeom prst="rect">
              <a:avLst/>
            </a:prstGeom>
          </p:spPr>
        </p:pic>
        <p:pic>
          <p:nvPicPr>
            <p:cNvPr id="91" name="Picture 90"/>
            <p:cNvPicPr>
              <a:picLocks noChangeAspect="1"/>
            </p:cNvPicPr>
            <p:nvPr/>
          </p:nvPicPr>
          <p:blipFill>
            <a:blip r:embed="rId17"/>
            <a:stretch>
              <a:fillRect/>
            </a:stretch>
          </p:blipFill>
          <p:spPr>
            <a:xfrm>
              <a:off x="10368710" y="254515"/>
              <a:ext cx="147937" cy="295874"/>
            </a:xfrm>
            <a:prstGeom prst="rect">
              <a:avLst/>
            </a:prstGeom>
          </p:spPr>
        </p:pic>
      </p:grpSp>
      <p:grpSp>
        <p:nvGrpSpPr>
          <p:cNvPr id="68" name="Group 67"/>
          <p:cNvGrpSpPr/>
          <p:nvPr/>
        </p:nvGrpSpPr>
        <p:grpSpPr>
          <a:xfrm>
            <a:off x="7777456" y="-2431811"/>
            <a:ext cx="2712308" cy="4040125"/>
            <a:chOff x="768089" y="-1605208"/>
            <a:chExt cx="3768750" cy="5613751"/>
          </a:xfrm>
        </p:grpSpPr>
        <p:pic>
          <p:nvPicPr>
            <p:cNvPr id="69" name="Picture 68"/>
            <p:cNvPicPr>
              <a:picLocks noChangeAspect="1"/>
            </p:cNvPicPr>
            <p:nvPr/>
          </p:nvPicPr>
          <p:blipFill>
            <a:blip r:embed="rId3"/>
            <a:stretch>
              <a:fillRect/>
            </a:stretch>
          </p:blipFill>
          <p:spPr>
            <a:xfrm>
              <a:off x="768089" y="-1605208"/>
              <a:ext cx="3768750" cy="5613751"/>
            </a:xfrm>
            <a:prstGeom prst="rect">
              <a:avLst/>
            </a:prstGeom>
          </p:spPr>
        </p:pic>
        <p:pic>
          <p:nvPicPr>
            <p:cNvPr id="70" name="Picture 69"/>
            <p:cNvPicPr>
              <a:picLocks noChangeAspect="1"/>
            </p:cNvPicPr>
            <p:nvPr/>
          </p:nvPicPr>
          <p:blipFill>
            <a:blip r:embed="rId4"/>
            <a:stretch>
              <a:fillRect/>
            </a:stretch>
          </p:blipFill>
          <p:spPr>
            <a:xfrm>
              <a:off x="1755198" y="534480"/>
              <a:ext cx="1361250" cy="1800000"/>
            </a:xfrm>
            <a:prstGeom prst="rect">
              <a:avLst/>
            </a:prstGeom>
          </p:spPr>
        </p:pic>
      </p:grpSp>
      <p:grpSp>
        <p:nvGrpSpPr>
          <p:cNvPr id="71" name="Group 70"/>
          <p:cNvGrpSpPr/>
          <p:nvPr/>
        </p:nvGrpSpPr>
        <p:grpSpPr>
          <a:xfrm>
            <a:off x="10357370" y="-722753"/>
            <a:ext cx="2712308" cy="4040125"/>
            <a:chOff x="768089" y="-1605208"/>
            <a:chExt cx="3768750" cy="5613751"/>
          </a:xfrm>
        </p:grpSpPr>
        <p:pic>
          <p:nvPicPr>
            <p:cNvPr id="72" name="Picture 71"/>
            <p:cNvPicPr>
              <a:picLocks noChangeAspect="1"/>
            </p:cNvPicPr>
            <p:nvPr/>
          </p:nvPicPr>
          <p:blipFill>
            <a:blip r:embed="rId3"/>
            <a:stretch>
              <a:fillRect/>
            </a:stretch>
          </p:blipFill>
          <p:spPr>
            <a:xfrm>
              <a:off x="768089" y="-1605208"/>
              <a:ext cx="3768750" cy="5613751"/>
            </a:xfrm>
            <a:prstGeom prst="rect">
              <a:avLst/>
            </a:prstGeom>
          </p:spPr>
        </p:pic>
        <p:pic>
          <p:nvPicPr>
            <p:cNvPr id="73" name="Picture 72"/>
            <p:cNvPicPr>
              <a:picLocks noChangeAspect="1"/>
            </p:cNvPicPr>
            <p:nvPr/>
          </p:nvPicPr>
          <p:blipFill>
            <a:blip r:embed="rId4"/>
            <a:stretch>
              <a:fillRect/>
            </a:stretch>
          </p:blipFill>
          <p:spPr>
            <a:xfrm>
              <a:off x="1755198" y="534480"/>
              <a:ext cx="1361250" cy="1800000"/>
            </a:xfrm>
            <a:prstGeom prst="rect">
              <a:avLst/>
            </a:prstGeom>
          </p:spPr>
        </p:pic>
      </p:grpSp>
      <p:grpSp>
        <p:nvGrpSpPr>
          <p:cNvPr id="74" name="Group 73"/>
          <p:cNvGrpSpPr/>
          <p:nvPr/>
        </p:nvGrpSpPr>
        <p:grpSpPr>
          <a:xfrm>
            <a:off x="10357370" y="-3128495"/>
            <a:ext cx="2712308" cy="4040125"/>
            <a:chOff x="768089" y="-1605208"/>
            <a:chExt cx="3768750" cy="5613751"/>
          </a:xfrm>
        </p:grpSpPr>
        <p:pic>
          <p:nvPicPr>
            <p:cNvPr id="75" name="Picture 74"/>
            <p:cNvPicPr>
              <a:picLocks noChangeAspect="1"/>
            </p:cNvPicPr>
            <p:nvPr/>
          </p:nvPicPr>
          <p:blipFill>
            <a:blip r:embed="rId3"/>
            <a:stretch>
              <a:fillRect/>
            </a:stretch>
          </p:blipFill>
          <p:spPr>
            <a:xfrm>
              <a:off x="768089" y="-1605208"/>
              <a:ext cx="3768750" cy="5613751"/>
            </a:xfrm>
            <a:prstGeom prst="rect">
              <a:avLst/>
            </a:prstGeom>
          </p:spPr>
        </p:pic>
        <p:pic>
          <p:nvPicPr>
            <p:cNvPr id="76" name="Picture 75"/>
            <p:cNvPicPr>
              <a:picLocks noChangeAspect="1"/>
            </p:cNvPicPr>
            <p:nvPr/>
          </p:nvPicPr>
          <p:blipFill>
            <a:blip r:embed="rId4"/>
            <a:stretch>
              <a:fillRect/>
            </a:stretch>
          </p:blipFill>
          <p:spPr>
            <a:xfrm>
              <a:off x="1755198" y="534480"/>
              <a:ext cx="1361250" cy="1800000"/>
            </a:xfrm>
            <a:prstGeom prst="rect">
              <a:avLst/>
            </a:prstGeom>
          </p:spPr>
        </p:pic>
      </p:grpSp>
    </p:spTree>
    <p:extLst>
      <p:ext uri="{BB962C8B-B14F-4D97-AF65-F5344CB8AC3E}">
        <p14:creationId xmlns:p14="http://schemas.microsoft.com/office/powerpoint/2010/main" val="41417589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77"/>
                                        </p:tgtEl>
                                        <p:attrNameLst>
                                          <p:attrName>style.visibility</p:attrName>
                                        </p:attrNameLst>
                                      </p:cBhvr>
                                      <p:to>
                                        <p:strVal val="visible"/>
                                      </p:to>
                                    </p:set>
                                    <p:animEffect transition="in" filter="wipe(left)">
                                      <p:cBhvr>
                                        <p:cTn id="7" dur="500"/>
                                        <p:tgtEl>
                                          <p:spTgt spid="77"/>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250"/>
                                        <p:tgtEl>
                                          <p:spTgt spid="4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250"/>
                                        <p:tgtEl>
                                          <p:spTgt spid="39"/>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250"/>
                                        <p:tgtEl>
                                          <p:spTgt spid="59"/>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250"/>
                                        <p:tgtEl>
                                          <p:spTgt spid="62"/>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fade">
                                      <p:cBhvr>
                                        <p:cTn id="31" dur="250"/>
                                        <p:tgtEl>
                                          <p:spTgt spid="56"/>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68"/>
                                        </p:tgtEl>
                                        <p:attrNameLst>
                                          <p:attrName>style.visibility</p:attrName>
                                        </p:attrNameLst>
                                      </p:cBhvr>
                                      <p:to>
                                        <p:strVal val="visible"/>
                                      </p:to>
                                    </p:set>
                                    <p:animEffect transition="in" filter="fade">
                                      <p:cBhvr>
                                        <p:cTn id="35" dur="250"/>
                                        <p:tgtEl>
                                          <p:spTgt spid="68"/>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fade">
                                      <p:cBhvr>
                                        <p:cTn id="39" dur="250"/>
                                        <p:tgtEl>
                                          <p:spTgt spid="71"/>
                                        </p:tgtEl>
                                      </p:cBhvr>
                                    </p:animEffect>
                                  </p:childTnLst>
                                </p:cTn>
                              </p:par>
                            </p:childTnLst>
                          </p:cTn>
                        </p:par>
                        <p:par>
                          <p:cTn id="40" fill="hold">
                            <p:stCondLst>
                              <p:cond delay="2750"/>
                            </p:stCondLst>
                            <p:childTnLst>
                              <p:par>
                                <p:cTn id="41" presetID="10" presetClass="entr" presetSubtype="0" fill="hold" nodeType="afterEffect">
                                  <p:stCondLst>
                                    <p:cond delay="0"/>
                                  </p:stCondLst>
                                  <p:childTnLst>
                                    <p:set>
                                      <p:cBhvr>
                                        <p:cTn id="42" dur="1" fill="hold">
                                          <p:stCondLst>
                                            <p:cond delay="0"/>
                                          </p:stCondLst>
                                        </p:cTn>
                                        <p:tgtEl>
                                          <p:spTgt spid="74"/>
                                        </p:tgtEl>
                                        <p:attrNameLst>
                                          <p:attrName>style.visibility</p:attrName>
                                        </p:attrNameLst>
                                      </p:cBhvr>
                                      <p:to>
                                        <p:strVal val="visible"/>
                                      </p:to>
                                    </p:set>
                                    <p:animEffect transition="in" filter="fade">
                                      <p:cBhvr>
                                        <p:cTn id="43" dur="250"/>
                                        <p:tgtEl>
                                          <p:spTgt spid="74"/>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77"/>
                                        </p:tgtEl>
                                      </p:cBhvr>
                                    </p:animEffect>
                                    <p:set>
                                      <p:cBhvr>
                                        <p:cTn id="48" dur="1" fill="hold">
                                          <p:stCondLst>
                                            <p:cond delay="499"/>
                                          </p:stCondLst>
                                        </p:cTn>
                                        <p:tgtEl>
                                          <p:spTgt spid="77"/>
                                        </p:tgtEl>
                                        <p:attrNameLst>
                                          <p:attrName>style.visibility</p:attrName>
                                        </p:attrNameLst>
                                      </p:cBhvr>
                                      <p:to>
                                        <p:strVal val="hidden"/>
                                      </p:to>
                                    </p:set>
                                  </p:childTnLst>
                                </p:cTn>
                              </p:par>
                            </p:childTnLst>
                          </p:cTn>
                        </p:par>
                        <p:par>
                          <p:cTn id="49" fill="hold">
                            <p:stCondLst>
                              <p:cond delay="500"/>
                            </p:stCondLst>
                            <p:childTnLst>
                              <p:par>
                                <p:cTn id="50" presetID="10" presetClass="exit" presetSubtype="0" fill="hold" nodeType="afterEffect">
                                  <p:stCondLst>
                                    <p:cond delay="250"/>
                                  </p:stCondLst>
                                  <p:childTnLst>
                                    <p:animEffect transition="out" filter="fade">
                                      <p:cBhvr>
                                        <p:cTn id="51" dur="250"/>
                                        <p:tgtEl>
                                          <p:spTgt spid="46"/>
                                        </p:tgtEl>
                                      </p:cBhvr>
                                    </p:animEffect>
                                    <p:set>
                                      <p:cBhvr>
                                        <p:cTn id="52" dur="1" fill="hold">
                                          <p:stCondLst>
                                            <p:cond delay="249"/>
                                          </p:stCondLst>
                                        </p:cTn>
                                        <p:tgtEl>
                                          <p:spTgt spid="46"/>
                                        </p:tgtEl>
                                        <p:attrNameLst>
                                          <p:attrName>style.visibility</p:attrName>
                                        </p:attrNameLst>
                                      </p:cBhvr>
                                      <p:to>
                                        <p:strVal val="hidden"/>
                                      </p:to>
                                    </p:set>
                                  </p:childTnLst>
                                </p:cTn>
                              </p:par>
                            </p:childTnLst>
                          </p:cTn>
                        </p:par>
                        <p:par>
                          <p:cTn id="53" fill="hold">
                            <p:stCondLst>
                              <p:cond delay="1000"/>
                            </p:stCondLst>
                            <p:childTnLst>
                              <p:par>
                                <p:cTn id="54" presetID="10" presetClass="exit" presetSubtype="0" fill="hold" nodeType="afterEffect">
                                  <p:stCondLst>
                                    <p:cond delay="0"/>
                                  </p:stCondLst>
                                  <p:childTnLst>
                                    <p:animEffect transition="out" filter="fade">
                                      <p:cBhvr>
                                        <p:cTn id="55" dur="250"/>
                                        <p:tgtEl>
                                          <p:spTgt spid="39"/>
                                        </p:tgtEl>
                                      </p:cBhvr>
                                    </p:animEffect>
                                    <p:set>
                                      <p:cBhvr>
                                        <p:cTn id="56" dur="1" fill="hold">
                                          <p:stCondLst>
                                            <p:cond delay="249"/>
                                          </p:stCondLst>
                                        </p:cTn>
                                        <p:tgtEl>
                                          <p:spTgt spid="39"/>
                                        </p:tgtEl>
                                        <p:attrNameLst>
                                          <p:attrName>style.visibility</p:attrName>
                                        </p:attrNameLst>
                                      </p:cBhvr>
                                      <p:to>
                                        <p:strVal val="hidden"/>
                                      </p:to>
                                    </p:set>
                                  </p:childTnLst>
                                </p:cTn>
                              </p:par>
                            </p:childTnLst>
                          </p:cTn>
                        </p:par>
                        <p:par>
                          <p:cTn id="57" fill="hold">
                            <p:stCondLst>
                              <p:cond delay="1250"/>
                            </p:stCondLst>
                            <p:childTnLst>
                              <p:par>
                                <p:cTn id="58" presetID="10" presetClass="exit" presetSubtype="0" fill="hold" nodeType="afterEffect">
                                  <p:stCondLst>
                                    <p:cond delay="0"/>
                                  </p:stCondLst>
                                  <p:childTnLst>
                                    <p:animEffect transition="out" filter="fade">
                                      <p:cBhvr>
                                        <p:cTn id="59" dur="250"/>
                                        <p:tgtEl>
                                          <p:spTgt spid="59"/>
                                        </p:tgtEl>
                                      </p:cBhvr>
                                    </p:animEffect>
                                    <p:set>
                                      <p:cBhvr>
                                        <p:cTn id="60" dur="1" fill="hold">
                                          <p:stCondLst>
                                            <p:cond delay="249"/>
                                          </p:stCondLst>
                                        </p:cTn>
                                        <p:tgtEl>
                                          <p:spTgt spid="59"/>
                                        </p:tgtEl>
                                        <p:attrNameLst>
                                          <p:attrName>style.visibility</p:attrName>
                                        </p:attrNameLst>
                                      </p:cBhvr>
                                      <p:to>
                                        <p:strVal val="hidden"/>
                                      </p:to>
                                    </p:set>
                                  </p:childTnLst>
                                </p:cTn>
                              </p:par>
                            </p:childTnLst>
                          </p:cTn>
                        </p:par>
                        <p:par>
                          <p:cTn id="61" fill="hold">
                            <p:stCondLst>
                              <p:cond delay="1500"/>
                            </p:stCondLst>
                            <p:childTnLst>
                              <p:par>
                                <p:cTn id="62" presetID="10" presetClass="exit" presetSubtype="0" fill="hold" nodeType="afterEffect">
                                  <p:stCondLst>
                                    <p:cond delay="0"/>
                                  </p:stCondLst>
                                  <p:childTnLst>
                                    <p:animEffect transition="out" filter="fade">
                                      <p:cBhvr>
                                        <p:cTn id="63" dur="250"/>
                                        <p:tgtEl>
                                          <p:spTgt spid="65"/>
                                        </p:tgtEl>
                                      </p:cBhvr>
                                    </p:animEffect>
                                    <p:set>
                                      <p:cBhvr>
                                        <p:cTn id="64" dur="1" fill="hold">
                                          <p:stCondLst>
                                            <p:cond delay="249"/>
                                          </p:stCondLst>
                                        </p:cTn>
                                        <p:tgtEl>
                                          <p:spTgt spid="65"/>
                                        </p:tgtEl>
                                        <p:attrNameLst>
                                          <p:attrName>style.visibility</p:attrName>
                                        </p:attrNameLst>
                                      </p:cBhvr>
                                      <p:to>
                                        <p:strVal val="hidden"/>
                                      </p:to>
                                    </p:set>
                                  </p:childTnLst>
                                </p:cTn>
                              </p:par>
                            </p:childTnLst>
                          </p:cTn>
                        </p:par>
                        <p:par>
                          <p:cTn id="65" fill="hold">
                            <p:stCondLst>
                              <p:cond delay="1750"/>
                            </p:stCondLst>
                            <p:childTnLst>
                              <p:par>
                                <p:cTn id="66" presetID="10" presetClass="exit" presetSubtype="0" fill="hold" nodeType="afterEffect">
                                  <p:stCondLst>
                                    <p:cond delay="0"/>
                                  </p:stCondLst>
                                  <p:childTnLst>
                                    <p:animEffect transition="out" filter="fade">
                                      <p:cBhvr>
                                        <p:cTn id="67" dur="250"/>
                                        <p:tgtEl>
                                          <p:spTgt spid="56"/>
                                        </p:tgtEl>
                                      </p:cBhvr>
                                    </p:animEffect>
                                    <p:set>
                                      <p:cBhvr>
                                        <p:cTn id="68" dur="1" fill="hold">
                                          <p:stCondLst>
                                            <p:cond delay="249"/>
                                          </p:stCondLst>
                                        </p:cTn>
                                        <p:tgtEl>
                                          <p:spTgt spid="56"/>
                                        </p:tgtEl>
                                        <p:attrNameLst>
                                          <p:attrName>style.visibility</p:attrName>
                                        </p:attrNameLst>
                                      </p:cBhvr>
                                      <p:to>
                                        <p:strVal val="hidden"/>
                                      </p:to>
                                    </p:set>
                                  </p:childTnLst>
                                </p:cTn>
                              </p:par>
                            </p:childTnLst>
                          </p:cTn>
                        </p:par>
                        <p:par>
                          <p:cTn id="69" fill="hold">
                            <p:stCondLst>
                              <p:cond delay="2000"/>
                            </p:stCondLst>
                            <p:childTnLst>
                              <p:par>
                                <p:cTn id="70" presetID="10" presetClass="exit" presetSubtype="0" fill="hold" nodeType="afterEffect">
                                  <p:stCondLst>
                                    <p:cond delay="0"/>
                                  </p:stCondLst>
                                  <p:childTnLst>
                                    <p:animEffect transition="out" filter="fade">
                                      <p:cBhvr>
                                        <p:cTn id="71" dur="250"/>
                                        <p:tgtEl>
                                          <p:spTgt spid="68"/>
                                        </p:tgtEl>
                                      </p:cBhvr>
                                    </p:animEffect>
                                    <p:set>
                                      <p:cBhvr>
                                        <p:cTn id="72" dur="1" fill="hold">
                                          <p:stCondLst>
                                            <p:cond delay="249"/>
                                          </p:stCondLst>
                                        </p:cTn>
                                        <p:tgtEl>
                                          <p:spTgt spid="68"/>
                                        </p:tgtEl>
                                        <p:attrNameLst>
                                          <p:attrName>style.visibility</p:attrName>
                                        </p:attrNameLst>
                                      </p:cBhvr>
                                      <p:to>
                                        <p:strVal val="hidden"/>
                                      </p:to>
                                    </p:set>
                                  </p:childTnLst>
                                </p:cTn>
                              </p:par>
                            </p:childTnLst>
                          </p:cTn>
                        </p:par>
                        <p:par>
                          <p:cTn id="73" fill="hold">
                            <p:stCondLst>
                              <p:cond delay="2250"/>
                            </p:stCondLst>
                            <p:childTnLst>
                              <p:par>
                                <p:cTn id="74" presetID="10" presetClass="exit" presetSubtype="0" fill="hold" nodeType="afterEffect">
                                  <p:stCondLst>
                                    <p:cond delay="0"/>
                                  </p:stCondLst>
                                  <p:childTnLst>
                                    <p:animEffect transition="out" filter="fade">
                                      <p:cBhvr>
                                        <p:cTn id="75" dur="250"/>
                                        <p:tgtEl>
                                          <p:spTgt spid="71"/>
                                        </p:tgtEl>
                                      </p:cBhvr>
                                    </p:animEffect>
                                    <p:set>
                                      <p:cBhvr>
                                        <p:cTn id="76" dur="1" fill="hold">
                                          <p:stCondLst>
                                            <p:cond delay="249"/>
                                          </p:stCondLst>
                                        </p:cTn>
                                        <p:tgtEl>
                                          <p:spTgt spid="71"/>
                                        </p:tgtEl>
                                        <p:attrNameLst>
                                          <p:attrName>style.visibility</p:attrName>
                                        </p:attrNameLst>
                                      </p:cBhvr>
                                      <p:to>
                                        <p:strVal val="hidden"/>
                                      </p:to>
                                    </p:set>
                                  </p:childTnLst>
                                </p:cTn>
                              </p:par>
                            </p:childTnLst>
                          </p:cTn>
                        </p:par>
                        <p:par>
                          <p:cTn id="77" fill="hold">
                            <p:stCondLst>
                              <p:cond delay="2500"/>
                            </p:stCondLst>
                            <p:childTnLst>
                              <p:par>
                                <p:cTn id="78" presetID="10" presetClass="exit" presetSubtype="0" fill="hold" nodeType="afterEffect">
                                  <p:stCondLst>
                                    <p:cond delay="0"/>
                                  </p:stCondLst>
                                  <p:childTnLst>
                                    <p:animEffect transition="out" filter="fade">
                                      <p:cBhvr>
                                        <p:cTn id="79" dur="250"/>
                                        <p:tgtEl>
                                          <p:spTgt spid="74"/>
                                        </p:tgtEl>
                                      </p:cBhvr>
                                    </p:animEffect>
                                    <p:set>
                                      <p:cBhvr>
                                        <p:cTn id="80" dur="1" fill="hold">
                                          <p:stCondLst>
                                            <p:cond delay="249"/>
                                          </p:stCondLst>
                                        </p:cTn>
                                        <p:tgtEl>
                                          <p:spTgt spid="74"/>
                                        </p:tgtEl>
                                        <p:attrNameLst>
                                          <p:attrName>style.visibility</p:attrName>
                                        </p:attrNameLst>
                                      </p:cBhvr>
                                      <p:to>
                                        <p:strVal val="hidden"/>
                                      </p:to>
                                    </p:set>
                                  </p:childTnLst>
                                </p:cTn>
                              </p:par>
                            </p:childTnLst>
                          </p:cTn>
                        </p:par>
                        <p:par>
                          <p:cTn id="81" fill="hold">
                            <p:stCondLst>
                              <p:cond delay="2750"/>
                            </p:stCondLst>
                            <p:childTnLst>
                              <p:par>
                                <p:cTn id="82" presetID="10" presetClass="exit" presetSubtype="0" fill="hold" nodeType="afterEffect">
                                  <p:stCondLst>
                                    <p:cond delay="0"/>
                                  </p:stCondLst>
                                  <p:childTnLst>
                                    <p:animEffect transition="out" filter="fade">
                                      <p:cBhvr>
                                        <p:cTn id="83" dur="250"/>
                                        <p:tgtEl>
                                          <p:spTgt spid="62"/>
                                        </p:tgtEl>
                                      </p:cBhvr>
                                    </p:animEffect>
                                    <p:set>
                                      <p:cBhvr>
                                        <p:cTn id="84" dur="1" fill="hold">
                                          <p:stCondLst>
                                            <p:cond delay="249"/>
                                          </p:stCondLst>
                                        </p:cTn>
                                        <p:tgtEl>
                                          <p:spTgt spid="6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25129" y="134754"/>
            <a:ext cx="12066872"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prstClr val="white"/>
                </a:solidFill>
                <a:effectLst/>
                <a:uLnTx/>
                <a:uFillTx/>
                <a:latin typeface="Segoe UI"/>
                <a:ea typeface="+mn-ea"/>
                <a:cs typeface="+mn-cs"/>
              </a:rPr>
              <a:t>Auto-Scaling</a:t>
            </a:r>
            <a:endParaRPr kumimoji="0" lang="en-US" sz="36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4" name="Group 3"/>
          <p:cNvGrpSpPr/>
          <p:nvPr/>
        </p:nvGrpSpPr>
        <p:grpSpPr>
          <a:xfrm>
            <a:off x="2999285" y="1899062"/>
            <a:ext cx="6384569" cy="532564"/>
            <a:chOff x="2844907" y="1899062"/>
            <a:chExt cx="6384569" cy="532564"/>
          </a:xfrm>
          <a:solidFill>
            <a:srgbClr val="999999"/>
          </a:solidFill>
        </p:grpSpPr>
        <p:grpSp>
          <p:nvGrpSpPr>
            <p:cNvPr id="5" name="Group 4"/>
            <p:cNvGrpSpPr/>
            <p:nvPr/>
          </p:nvGrpSpPr>
          <p:grpSpPr>
            <a:xfrm>
              <a:off x="3540169" y="1962418"/>
              <a:ext cx="4992400" cy="396508"/>
              <a:chOff x="3290793" y="2025775"/>
              <a:chExt cx="4992400" cy="396508"/>
            </a:xfrm>
            <a:grpFill/>
          </p:grpSpPr>
          <p:sp>
            <p:nvSpPr>
              <p:cNvPr id="8" name="Rectangle 7"/>
              <p:cNvSpPr/>
              <p:nvPr/>
            </p:nvSpPr>
            <p:spPr bwMode="auto">
              <a:xfrm>
                <a:off x="3290793" y="2134948"/>
                <a:ext cx="4992400" cy="196851"/>
              </a:xfrm>
              <a:prstGeom prst="rect">
                <a:avLst/>
              </a:prstGeom>
              <a:grpFill/>
              <a:ln>
                <a:solidFill>
                  <a:srgbClr val="99999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srgbClr val="999999"/>
                  </a:solidFill>
                  <a:effectLst/>
                  <a:uLnTx/>
                  <a:uFillTx/>
                  <a:latin typeface="Segoe UI"/>
                  <a:ea typeface="+mn-ea"/>
                  <a:cs typeface="+mn-cs"/>
                </a:endParaRPr>
              </a:p>
            </p:txBody>
          </p:sp>
          <p:sp>
            <p:nvSpPr>
              <p:cNvPr id="9" name="Rectangle 8"/>
              <p:cNvSpPr/>
              <p:nvPr/>
            </p:nvSpPr>
            <p:spPr bwMode="auto">
              <a:xfrm>
                <a:off x="3898180" y="2134949"/>
                <a:ext cx="2260385" cy="196851"/>
              </a:xfrm>
              <a:prstGeom prst="rect">
                <a:avLst/>
              </a:prstGeom>
              <a:solidFill>
                <a:srgbClr val="289F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gradFill>
                    <a:gsLst>
                      <a:gs pos="0">
                        <a:srgbClr val="5F5F5F"/>
                      </a:gs>
                      <a:gs pos="100000">
                        <a:srgbClr val="5F5F5F"/>
                      </a:gs>
                    </a:gsLst>
                    <a:lin ang="5400000" scaled="0"/>
                  </a:gradFill>
                  <a:effectLst/>
                  <a:uLnTx/>
                  <a:uFillTx/>
                  <a:latin typeface="Segoe UI"/>
                  <a:ea typeface="+mn-ea"/>
                  <a:cs typeface="+mn-cs"/>
                </a:endParaRPr>
              </a:p>
            </p:txBody>
          </p:sp>
          <p:sp>
            <p:nvSpPr>
              <p:cNvPr id="10" name="Rectangle 9"/>
              <p:cNvSpPr/>
              <p:nvPr/>
            </p:nvSpPr>
            <p:spPr bwMode="auto">
              <a:xfrm>
                <a:off x="3796684" y="2025776"/>
                <a:ext cx="101496" cy="396507"/>
              </a:xfrm>
              <a:prstGeom prst="rect">
                <a:avLst/>
              </a:prstGeom>
              <a:solidFill>
                <a:srgbClr val="00B0F0"/>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gradFill>
                    <a:gsLst>
                      <a:gs pos="0">
                        <a:srgbClr val="5F5F5F"/>
                      </a:gs>
                      <a:gs pos="100000">
                        <a:srgbClr val="5F5F5F"/>
                      </a:gs>
                    </a:gsLst>
                    <a:lin ang="5400000" scaled="0"/>
                  </a:gradFill>
                  <a:effectLst/>
                  <a:uLnTx/>
                  <a:uFillTx/>
                  <a:latin typeface="Segoe UI"/>
                  <a:ea typeface="+mn-ea"/>
                  <a:cs typeface="+mn-cs"/>
                </a:endParaRPr>
              </a:p>
            </p:txBody>
          </p:sp>
          <p:sp>
            <p:nvSpPr>
              <p:cNvPr id="11" name="Rectangle 10"/>
              <p:cNvSpPr/>
              <p:nvPr/>
            </p:nvSpPr>
            <p:spPr bwMode="auto">
              <a:xfrm>
                <a:off x="6158565" y="2025775"/>
                <a:ext cx="101496" cy="396507"/>
              </a:xfrm>
              <a:prstGeom prst="rect">
                <a:avLst/>
              </a:prstGeom>
              <a:solidFill>
                <a:srgbClr val="00B0F0"/>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gradFill>
                    <a:gsLst>
                      <a:gs pos="0">
                        <a:srgbClr val="5F5F5F"/>
                      </a:gs>
                      <a:gs pos="100000">
                        <a:srgbClr val="5F5F5F"/>
                      </a:gs>
                    </a:gsLst>
                    <a:lin ang="5400000" scaled="0"/>
                  </a:gradFill>
                  <a:effectLst/>
                  <a:uLnTx/>
                  <a:uFillTx/>
                  <a:latin typeface="Segoe UI"/>
                  <a:ea typeface="+mn-ea"/>
                  <a:cs typeface="+mn-cs"/>
                </a:endParaRPr>
              </a:p>
            </p:txBody>
          </p:sp>
        </p:grpSp>
        <p:sp>
          <p:nvSpPr>
            <p:cNvPr id="6" name="TextBox 5"/>
            <p:cNvSpPr txBox="1"/>
            <p:nvPr/>
          </p:nvSpPr>
          <p:spPr>
            <a:xfrm>
              <a:off x="2844907" y="1899062"/>
              <a:ext cx="593766" cy="523220"/>
            </a:xfrm>
            <a:prstGeom prst="rect">
              <a:avLst/>
            </a:prstGeom>
            <a:noFill/>
            <a:ln w="19050">
              <a:solidFill>
                <a:schemeClr val="bg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7" name="TextBox 6"/>
            <p:cNvSpPr txBox="1"/>
            <p:nvPr/>
          </p:nvSpPr>
          <p:spPr>
            <a:xfrm>
              <a:off x="8635710" y="1908406"/>
              <a:ext cx="593766" cy="523220"/>
            </a:xfrm>
            <a:prstGeom prst="rect">
              <a:avLst/>
            </a:prstGeom>
            <a:noFill/>
            <a:ln w="19050">
              <a:solidFill>
                <a:schemeClr val="bg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6</a:t>
              </a:r>
            </a:p>
          </p:txBody>
        </p:sp>
      </p:grpSp>
      <p:grpSp>
        <p:nvGrpSpPr>
          <p:cNvPr id="12" name="Group 11"/>
          <p:cNvGrpSpPr/>
          <p:nvPr/>
        </p:nvGrpSpPr>
        <p:grpSpPr>
          <a:xfrm>
            <a:off x="2999285" y="2979983"/>
            <a:ext cx="6384569" cy="523220"/>
            <a:chOff x="2749907" y="2979983"/>
            <a:chExt cx="6384569" cy="523220"/>
          </a:xfrm>
        </p:grpSpPr>
        <p:grpSp>
          <p:nvGrpSpPr>
            <p:cNvPr id="13" name="Group 12"/>
            <p:cNvGrpSpPr/>
            <p:nvPr/>
          </p:nvGrpSpPr>
          <p:grpSpPr>
            <a:xfrm>
              <a:off x="3445169" y="3168356"/>
              <a:ext cx="4992624" cy="186277"/>
              <a:chOff x="2274474" y="1232678"/>
              <a:chExt cx="4992624" cy="186277"/>
            </a:xfrm>
          </p:grpSpPr>
          <p:sp>
            <p:nvSpPr>
              <p:cNvPr id="18" name="Rectangle 17"/>
              <p:cNvSpPr/>
              <p:nvPr/>
            </p:nvSpPr>
            <p:spPr bwMode="auto">
              <a:xfrm>
                <a:off x="2274474" y="1232679"/>
                <a:ext cx="4992624" cy="186276"/>
              </a:xfrm>
              <a:prstGeom prst="rect">
                <a:avLst/>
              </a:prstGeom>
              <a:solidFill>
                <a:srgbClr val="9999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gradFill>
                    <a:gsLst>
                      <a:gs pos="0">
                        <a:srgbClr val="5F5F5F"/>
                      </a:gs>
                      <a:gs pos="100000">
                        <a:srgbClr val="5F5F5F"/>
                      </a:gs>
                    </a:gsLst>
                    <a:lin ang="5400000" scaled="0"/>
                  </a:gradFill>
                  <a:effectLst/>
                  <a:uLnTx/>
                  <a:uFillTx/>
                  <a:latin typeface="Segoe UI"/>
                  <a:ea typeface="+mn-ea"/>
                  <a:cs typeface="+mn-cs"/>
                </a:endParaRPr>
              </a:p>
            </p:txBody>
          </p:sp>
          <p:sp>
            <p:nvSpPr>
              <p:cNvPr id="19" name="Rectangle 18"/>
              <p:cNvSpPr/>
              <p:nvPr/>
            </p:nvSpPr>
            <p:spPr bwMode="auto">
              <a:xfrm>
                <a:off x="5243742" y="1232678"/>
                <a:ext cx="1309531" cy="185046"/>
              </a:xfrm>
              <a:prstGeom prst="rect">
                <a:avLst/>
              </a:prstGeom>
              <a:solidFill>
                <a:srgbClr val="289F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gradFill>
                    <a:gsLst>
                      <a:gs pos="0">
                        <a:srgbClr val="5F5F5F"/>
                      </a:gs>
                      <a:gs pos="100000">
                        <a:srgbClr val="5F5F5F"/>
                      </a:gs>
                    </a:gsLst>
                    <a:lin ang="5400000" scaled="0"/>
                  </a:gradFill>
                  <a:effectLst/>
                  <a:uLnTx/>
                  <a:uFillTx/>
                  <a:latin typeface="Segoe UI"/>
                  <a:ea typeface="+mn-ea"/>
                  <a:cs typeface="+mn-cs"/>
                </a:endParaRPr>
              </a:p>
            </p:txBody>
          </p:sp>
        </p:grpSp>
        <p:sp>
          <p:nvSpPr>
            <p:cNvPr id="14" name="Rectangle 13"/>
            <p:cNvSpPr/>
            <p:nvPr/>
          </p:nvSpPr>
          <p:spPr bwMode="auto">
            <a:xfrm>
              <a:off x="6363689" y="3062625"/>
              <a:ext cx="101496" cy="396507"/>
            </a:xfrm>
            <a:prstGeom prst="rect">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gradFill>
                  <a:gsLst>
                    <a:gs pos="0">
                      <a:srgbClr val="5F5F5F"/>
                    </a:gs>
                    <a:gs pos="100000">
                      <a:srgbClr val="5F5F5F"/>
                    </a:gs>
                  </a:gsLst>
                  <a:lin ang="5400000" scaled="0"/>
                </a:gradFill>
                <a:effectLst/>
                <a:uLnTx/>
                <a:uFillTx/>
                <a:latin typeface="Segoe UI"/>
                <a:ea typeface="+mn-ea"/>
                <a:cs typeface="+mn-cs"/>
              </a:endParaRPr>
            </a:p>
          </p:txBody>
        </p:sp>
        <p:sp>
          <p:nvSpPr>
            <p:cNvPr id="15" name="Rectangle 14"/>
            <p:cNvSpPr/>
            <p:nvPr/>
          </p:nvSpPr>
          <p:spPr bwMode="auto">
            <a:xfrm>
              <a:off x="7696600" y="3062624"/>
              <a:ext cx="101496" cy="396507"/>
            </a:xfrm>
            <a:prstGeom prst="rect">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68558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gradFill>
                  <a:gsLst>
                    <a:gs pos="0">
                      <a:srgbClr val="5F5F5F"/>
                    </a:gs>
                    <a:gs pos="100000">
                      <a:srgbClr val="5F5F5F"/>
                    </a:gs>
                  </a:gsLst>
                  <a:lin ang="5400000" scaled="0"/>
                </a:gradFill>
                <a:effectLst/>
                <a:uLnTx/>
                <a:uFillTx/>
                <a:latin typeface="Segoe UI"/>
                <a:ea typeface="+mn-ea"/>
                <a:cs typeface="+mn-cs"/>
              </a:endParaRPr>
            </a:p>
          </p:txBody>
        </p:sp>
        <p:sp>
          <p:nvSpPr>
            <p:cNvPr id="16" name="TextBox 15"/>
            <p:cNvSpPr txBox="1"/>
            <p:nvPr/>
          </p:nvSpPr>
          <p:spPr>
            <a:xfrm>
              <a:off x="2749907" y="2979983"/>
              <a:ext cx="593766" cy="523220"/>
            </a:xfrm>
            <a:prstGeom prst="rect">
              <a:avLst/>
            </a:prstGeom>
            <a:noFill/>
            <a:ln w="19050">
              <a:solidFill>
                <a:schemeClr val="bg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60</a:t>
              </a:r>
            </a:p>
          </p:txBody>
        </p:sp>
        <p:sp>
          <p:nvSpPr>
            <p:cNvPr id="17" name="TextBox 16"/>
            <p:cNvSpPr txBox="1"/>
            <p:nvPr/>
          </p:nvSpPr>
          <p:spPr>
            <a:xfrm>
              <a:off x="8540710" y="2979983"/>
              <a:ext cx="593766" cy="523220"/>
            </a:xfrm>
            <a:prstGeom prst="rect">
              <a:avLst/>
            </a:prstGeom>
            <a:noFill/>
            <a:ln w="19050">
              <a:solidFill>
                <a:schemeClr val="bg2">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80</a:t>
              </a:r>
            </a:p>
          </p:txBody>
        </p:sp>
      </p:grpSp>
      <p:sp>
        <p:nvSpPr>
          <p:cNvPr id="20" name="TextBox 19"/>
          <p:cNvSpPr txBox="1"/>
          <p:nvPr/>
        </p:nvSpPr>
        <p:spPr>
          <a:xfrm>
            <a:off x="339034" y="1899061"/>
            <a:ext cx="255711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Instance Count</a:t>
            </a:r>
          </a:p>
        </p:txBody>
      </p:sp>
      <p:sp>
        <p:nvSpPr>
          <p:cNvPr id="22" name="TextBox 21"/>
          <p:cNvSpPr txBox="1"/>
          <p:nvPr/>
        </p:nvSpPr>
        <p:spPr>
          <a:xfrm>
            <a:off x="9486771" y="2979983"/>
            <a:ext cx="135761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Percent</a:t>
            </a:r>
          </a:p>
        </p:txBody>
      </p:sp>
      <p:sp>
        <p:nvSpPr>
          <p:cNvPr id="23" name="TextBox 22"/>
          <p:cNvSpPr txBox="1"/>
          <p:nvPr/>
        </p:nvSpPr>
        <p:spPr>
          <a:xfrm>
            <a:off x="9486771" y="1908406"/>
            <a:ext cx="16498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Instances</a:t>
            </a:r>
          </a:p>
        </p:txBody>
      </p:sp>
      <p:sp>
        <p:nvSpPr>
          <p:cNvPr id="24" name="TextBox 23"/>
          <p:cNvSpPr txBox="1"/>
          <p:nvPr/>
        </p:nvSpPr>
        <p:spPr>
          <a:xfrm>
            <a:off x="1485701" y="2935911"/>
            <a:ext cx="85472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CPU</a:t>
            </a: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93734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3" name="Subtitle 2"/>
          <p:cNvSpPr>
            <a:spLocks noGrp="1"/>
          </p:cNvSpPr>
          <p:nvPr>
            <p:ph type="subTitle" idx="1"/>
          </p:nvPr>
        </p:nvSpPr>
        <p:spPr/>
        <p:txBody>
          <a:bodyPr>
            <a:normAutofit fontScale="85000" lnSpcReduction="20000"/>
          </a:bodyPr>
          <a:lstStyle/>
          <a:p>
            <a:r>
              <a:rPr lang="en-US" sz="4400" dirty="0" smtClean="0">
                <a:latin typeface="+mj-lt"/>
              </a:rPr>
              <a:t>Manual Scale</a:t>
            </a:r>
          </a:p>
          <a:p>
            <a:r>
              <a:rPr lang="en-US" sz="4400" dirty="0" smtClean="0">
                <a:latin typeface="+mj-lt"/>
              </a:rPr>
              <a:t>Scheduled Scale</a:t>
            </a:r>
          </a:p>
          <a:p>
            <a:r>
              <a:rPr lang="en-US" sz="4400" dirty="0" smtClean="0">
                <a:latin typeface="+mj-lt"/>
              </a:rPr>
              <a:t>Auto Scale</a:t>
            </a:r>
            <a:endParaRPr lang="en-US" sz="4400" dirty="0">
              <a:latin typeface="+mj-lt"/>
            </a:endParaRPr>
          </a:p>
        </p:txBody>
      </p:sp>
    </p:spTree>
    <p:extLst>
      <p:ext uri="{BB962C8B-B14F-4D97-AF65-F5344CB8AC3E}">
        <p14:creationId xmlns:p14="http://schemas.microsoft.com/office/powerpoint/2010/main" val="1566769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and all that PaaS…”</a:t>
            </a:r>
            <a:endParaRPr lang="en-US" sz="8800" dirty="0"/>
          </a:p>
        </p:txBody>
      </p:sp>
    </p:spTree>
    <p:extLst>
      <p:ext uri="{BB962C8B-B14F-4D97-AF65-F5344CB8AC3E}">
        <p14:creationId xmlns:p14="http://schemas.microsoft.com/office/powerpoint/2010/main" val="4110741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3995" y="135822"/>
            <a:ext cx="10986231" cy="825787"/>
          </a:xfr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sp>
        <p:nvSpPr>
          <p:cNvPr id="156" name="Rectangle 155"/>
          <p:cNvSpPr/>
          <p:nvPr/>
        </p:nvSpPr>
        <p:spPr>
          <a:xfrm>
            <a:off x="6914688" y="4257185"/>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57" name="Rectangle 156"/>
          <p:cNvSpPr/>
          <p:nvPr/>
        </p:nvSpPr>
        <p:spPr>
          <a:xfrm>
            <a:off x="6922094" y="4343059"/>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grpSp>
        <p:nvGrpSpPr>
          <p:cNvPr id="225" name="Group 224"/>
          <p:cNvGrpSpPr/>
          <p:nvPr/>
        </p:nvGrpSpPr>
        <p:grpSpPr>
          <a:xfrm>
            <a:off x="250859" y="1664314"/>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D</a:t>
                  </a:r>
                </a:p>
              </p:txBody>
            </p:sp>
            <p:pic>
              <p:nvPicPr>
                <p:cNvPr id="197" name="Picture 4"/>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ultifa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uthentication</a:t>
                  </a:r>
                </a:p>
              </p:txBody>
            </p:sp>
            <p:pic>
              <p:nvPicPr>
                <p:cNvPr id="20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ccess Contr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ay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grpSp>
        <p:nvGrpSpPr>
          <p:cNvPr id="226" name="Group 225"/>
          <p:cNvGrpSpPr/>
          <p:nvPr/>
        </p:nvGrpSpPr>
        <p:grpSpPr>
          <a:xfrm>
            <a:off x="255024" y="2959432"/>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teg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ayer</a:t>
              </a:r>
            </a:p>
          </p:txBody>
        </p:sp>
        <p:grpSp>
          <p:nvGrpSpPr>
            <p:cNvPr id="221" name="Group 220"/>
            <p:cNvGrpSpPr/>
            <p:nvPr/>
          </p:nvGrpSpPr>
          <p:grpSpPr>
            <a:xfrm>
              <a:off x="971070" y="3649986"/>
              <a:ext cx="6439662" cy="788603"/>
              <a:chOff x="971070" y="3609563"/>
              <a:chExt cx="6439662" cy="788603"/>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ervice Bus</a:t>
                  </a:r>
                </a:p>
              </p:txBody>
            </p:sp>
            <p:pic>
              <p:nvPicPr>
                <p:cNvPr id="196" name="Picture 8"/>
                <p:cNvPicPr>
                  <a:picLocks noChangeAspect="1"/>
                </p:cNvPicPr>
                <p:nvPr/>
              </p:nvPicPr>
              <p:blipFill>
                <a:blip r:embed="rId5">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DN</a:t>
                  </a:r>
                </a:p>
              </p:txBody>
            </p:sp>
            <p:pic>
              <p:nvPicPr>
                <p:cNvPr id="202" name="Picture 7"/>
                <p:cNvPicPr>
                  <a:picLocks noChangeAspect="1"/>
                </p:cNvPicPr>
                <p:nvPr/>
              </p:nvPicPr>
              <p:blipFill>
                <a:blip r:embed="rId6">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izTalk Services</a:t>
                  </a:r>
                </a:p>
              </p:txBody>
            </p:sp>
            <p:pic>
              <p:nvPicPr>
                <p:cNvPr id="203" name="Picture 2"/>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raffic Manager</a:t>
                  </a:r>
                </a:p>
              </p:txBody>
            </p:sp>
            <p:pic>
              <p:nvPicPr>
                <p:cNvPr id="204" name="Picture 26"/>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Virtual Networks</a:t>
                  </a:r>
                </a:p>
              </p:txBody>
            </p:sp>
            <p:pic>
              <p:nvPicPr>
                <p:cNvPr id="205" name="Picture 17"/>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80717"/>
                <a:chOff x="6440376" y="3609253"/>
                <a:chExt cx="970356" cy="780717"/>
              </a:xfrm>
            </p:grpSpPr>
            <p:sp>
              <p:nvSpPr>
                <p:cNvPr id="172" name="Rectangle 171"/>
                <p:cNvSpPr/>
                <p:nvPr/>
              </p:nvSpPr>
              <p:spPr>
                <a:xfrm>
                  <a:off x="6440376" y="3613349"/>
                  <a:ext cx="970356" cy="77662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xpress Route</a:t>
                  </a:r>
                </a:p>
              </p:txBody>
            </p:sp>
            <p:pic>
              <p:nvPicPr>
                <p:cNvPr id="206" name="Picture 1"/>
                <p:cNvPicPr>
                  <a:picLocks noChangeAspect="1"/>
                </p:cNvPicPr>
                <p:nvPr/>
              </p:nvPicPr>
              <p:blipFill>
                <a:blip r:embed="rId10" cstate="print">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5024" y="4067047"/>
            <a:ext cx="10555080" cy="949052"/>
            <a:chOff x="253436" y="4673444"/>
            <a:chExt cx="10555080" cy="949052"/>
          </a:xfrm>
          <a:solidFill>
            <a:srgbClr val="0075C9"/>
          </a:solidFill>
        </p:grpSpPr>
        <p:sp>
          <p:nvSpPr>
            <p:cNvPr id="75" name="TextBox 74"/>
            <p:cNvSpPr txBox="1"/>
            <p:nvPr/>
          </p:nvSpPr>
          <p:spPr>
            <a:xfrm rot="16200000">
              <a:off x="-5702" y="4932582"/>
              <a:ext cx="949052" cy="430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a:grpFill/>
          </p:grpSpPr>
          <p:grpSp>
            <p:nvGrpSpPr>
              <p:cNvPr id="215" name="Group 214"/>
              <p:cNvGrpSpPr/>
              <p:nvPr/>
            </p:nvGrpSpPr>
            <p:grpSpPr>
              <a:xfrm>
                <a:off x="962247" y="4732622"/>
                <a:ext cx="988002" cy="777240"/>
                <a:chOff x="962247" y="4703208"/>
                <a:chExt cx="988002" cy="750431"/>
              </a:xfrm>
              <a:grpFill/>
            </p:grpSpPr>
            <p:sp>
              <p:nvSpPr>
                <p:cNvPr id="124" name="Rectangle 123"/>
                <p:cNvSpPr/>
                <p:nvPr/>
              </p:nvSpPr>
              <p:spPr>
                <a:xfrm>
                  <a:off x="962247" y="4703208"/>
                  <a:ext cx="988002"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PI Mgmt</a:t>
                  </a:r>
                </a:p>
              </p:txBody>
            </p:sp>
            <p:pic>
              <p:nvPicPr>
                <p:cNvPr id="125" name="Picture 1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a:grpFill/>
              </p:spPr>
            </p:pic>
          </p:grpSp>
          <p:grpSp>
            <p:nvGrpSpPr>
              <p:cNvPr id="213" name="Group 212"/>
              <p:cNvGrpSpPr/>
              <p:nvPr/>
            </p:nvGrpSpPr>
            <p:grpSpPr>
              <a:xfrm>
                <a:off x="3185125" y="4732622"/>
                <a:ext cx="970746" cy="777240"/>
                <a:chOff x="3175957" y="4703208"/>
                <a:chExt cx="970746" cy="750431"/>
              </a:xfrm>
              <a:grpFill/>
            </p:grpSpPr>
            <p:sp>
              <p:nvSpPr>
                <p:cNvPr id="51" name="Rectangle 50"/>
                <p:cNvSpPr/>
                <p:nvPr/>
              </p:nvSpPr>
              <p:spPr>
                <a:xfrm>
                  <a:off x="3175957" y="4703208"/>
                  <a:ext cx="970746"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ebsites</a:t>
                  </a:r>
                </a:p>
              </p:txBody>
            </p:sp>
            <p:pic>
              <p:nvPicPr>
                <p:cNvPr id="144" name="Picture 11"/>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a:grpFill/>
            </p:grpSpPr>
            <p:sp>
              <p:nvSpPr>
                <p:cNvPr id="52" name="Rectangle 51"/>
                <p:cNvSpPr/>
                <p:nvPr/>
              </p:nvSpPr>
              <p:spPr>
                <a:xfrm>
                  <a:off x="4405052" y="4777097"/>
                  <a:ext cx="988002"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loud Services</a:t>
                  </a:r>
                </a:p>
              </p:txBody>
            </p:sp>
            <p:pic>
              <p:nvPicPr>
                <p:cNvPr id="149" name="Picture 20"/>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a:grpFill/>
            </p:grpSpPr>
            <p:sp>
              <p:nvSpPr>
                <p:cNvPr id="53" name="Rectangle 52"/>
                <p:cNvSpPr/>
                <p:nvPr/>
              </p:nvSpPr>
              <p:spPr>
                <a:xfrm>
                  <a:off x="5497654" y="4777098"/>
                  <a:ext cx="970746" cy="7504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VM</a:t>
                  </a:r>
                </a:p>
              </p:txBody>
            </p:sp>
            <p:pic>
              <p:nvPicPr>
                <p:cNvPr id="165" name="Picture 46"/>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5987463" y="4820389"/>
                  <a:ext cx="442896" cy="4053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a:grpFill/>
            </p:grpSpPr>
            <p:sp>
              <p:nvSpPr>
                <p:cNvPr id="49" name="Rectangle 48"/>
                <p:cNvSpPr/>
                <p:nvPr/>
              </p:nvSpPr>
              <p:spPr>
                <a:xfrm>
                  <a:off x="2068435" y="4688149"/>
                  <a:ext cx="1015690"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obile Services</a:t>
                  </a:r>
                </a:p>
              </p:txBody>
            </p:sp>
            <p:pic>
              <p:nvPicPr>
                <p:cNvPr id="171" name="Picture 73"/>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a:grpFill/>
            </p:grpSpPr>
            <p:sp>
              <p:nvSpPr>
                <p:cNvPr id="143" name="Rectangle 142"/>
                <p:cNvSpPr/>
                <p:nvPr/>
              </p:nvSpPr>
              <p:spPr>
                <a:xfrm>
                  <a:off x="6840274" y="4771966"/>
                  <a:ext cx="1030563"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edia Services</a:t>
                  </a:r>
                </a:p>
              </p:txBody>
            </p:sp>
            <p:pic>
              <p:nvPicPr>
                <p:cNvPr id="198" name="Picture 14"/>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a:grpFill/>
            </p:grpSpPr>
            <p:sp>
              <p:nvSpPr>
                <p:cNvPr id="148" name="Rectangle 147"/>
                <p:cNvSpPr/>
                <p:nvPr/>
              </p:nvSpPr>
              <p:spPr>
                <a:xfrm>
                  <a:off x="7972092" y="4771966"/>
                  <a:ext cx="1030563"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otification Hubs</a:t>
                  </a:r>
                </a:p>
              </p:txBody>
            </p:sp>
            <p:pic>
              <p:nvPicPr>
                <p:cNvPr id="199" name="Picture 13"/>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a:grpFill/>
            </p:grpSpPr>
            <p:sp>
              <p:nvSpPr>
                <p:cNvPr id="54" name="Rectangle 53"/>
                <p:cNvSpPr/>
                <p:nvPr/>
              </p:nvSpPr>
              <p:spPr>
                <a:xfrm>
                  <a:off x="9109052" y="4771966"/>
                  <a:ext cx="987605"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cheduler</a:t>
                  </a:r>
                </a:p>
              </p:txBody>
            </p:sp>
            <p:pic>
              <p:nvPicPr>
                <p:cNvPr id="200" name="Picture 15"/>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a:grpFill/>
            </p:grpSpPr>
            <p:sp>
              <p:nvSpPr>
                <p:cNvPr id="152" name="Rectangle 151"/>
                <p:cNvSpPr/>
                <p:nvPr/>
              </p:nvSpPr>
              <p:spPr>
                <a:xfrm>
                  <a:off x="10224547" y="4771966"/>
                  <a:ext cx="987605"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utomation</a:t>
                  </a:r>
                </a:p>
              </p:txBody>
            </p:sp>
            <p:pic>
              <p:nvPicPr>
                <p:cNvPr id="208" name="Picture 15"/>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269071" y="5155430"/>
            <a:ext cx="10549581" cy="1019635"/>
            <a:chOff x="896471" y="5136203"/>
            <a:chExt cx="10549581" cy="1019635"/>
          </a:xfrm>
        </p:grpSpPr>
        <p:grpSp>
          <p:nvGrpSpPr>
            <p:cNvPr id="108" name="Group 107"/>
            <p:cNvGrpSpPr/>
            <p:nvPr/>
          </p:nvGrpSpPr>
          <p:grpSpPr>
            <a:xfrm>
              <a:off x="896471" y="5136203"/>
              <a:ext cx="10549581" cy="1019635"/>
              <a:chOff x="894883" y="5742599"/>
              <a:chExt cx="10549581" cy="1019635"/>
            </a:xfrm>
          </p:grpSpPr>
          <p:sp>
            <p:nvSpPr>
              <p:cNvPr id="123" name="TextBox 122"/>
              <p:cNvSpPr txBox="1"/>
              <p:nvPr/>
            </p:nvSpPr>
            <p:spPr>
              <a:xfrm rot="16200000">
                <a:off x="515836" y="6121646"/>
                <a:ext cx="1019635" cy="2615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ata Layer</a:t>
                </a:r>
              </a:p>
            </p:txBody>
          </p:sp>
          <p:grpSp>
            <p:nvGrpSpPr>
              <p:cNvPr id="74" name="Group 73"/>
              <p:cNvGrpSpPr/>
              <p:nvPr/>
            </p:nvGrpSpPr>
            <p:grpSpPr>
              <a:xfrm>
                <a:off x="1617406" y="5889512"/>
                <a:ext cx="3154896" cy="751724"/>
                <a:chOff x="1491479" y="5889512"/>
                <a:chExt cx="3150465" cy="751724"/>
              </a:xfrm>
            </p:grpSpPr>
            <p:grpSp>
              <p:nvGrpSpPr>
                <p:cNvPr id="31" name="Group 30"/>
                <p:cNvGrpSpPr/>
                <p:nvPr/>
              </p:nvGrpSpPr>
              <p:grpSpPr>
                <a:xfrm>
                  <a:off x="1491479" y="5889512"/>
                  <a:ext cx="987605" cy="750431"/>
                  <a:chOff x="1803104" y="5889512"/>
                  <a:chExt cx="987605" cy="750431"/>
                </a:xfrm>
              </p:grpSpPr>
              <p:sp>
                <p:nvSpPr>
                  <p:cNvPr id="59" name="Rectangle 58"/>
                  <p:cNvSpPr/>
                  <p:nvPr/>
                </p:nvSpPr>
                <p:spPr>
                  <a:xfrm>
                    <a:off x="1803104" y="5889512"/>
                    <a:ext cx="987605"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lobs</a:t>
                    </a:r>
                  </a:p>
                </p:txBody>
              </p:sp>
              <p:pic>
                <p:nvPicPr>
                  <p:cNvPr id="188" name="Picture 5"/>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2286962"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59897" y="5889512"/>
                  <a:ext cx="1004290" cy="750431"/>
                  <a:chOff x="2913076" y="5889512"/>
                  <a:chExt cx="1004290" cy="750431"/>
                </a:xfrm>
              </p:grpSpPr>
              <p:sp>
                <p:nvSpPr>
                  <p:cNvPr id="60" name="Rectangle 59"/>
                  <p:cNvSpPr/>
                  <p:nvPr/>
                </p:nvSpPr>
                <p:spPr>
                  <a:xfrm>
                    <a:off x="2913076" y="5889512"/>
                    <a:ext cx="987552"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ables</a:t>
                    </a:r>
                  </a:p>
                </p:txBody>
              </p:sp>
              <p:pic>
                <p:nvPicPr>
                  <p:cNvPr id="189" name="Picture 6"/>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Queues</a:t>
                    </a:r>
                  </a:p>
                </p:txBody>
              </p:sp>
              <p:pic>
                <p:nvPicPr>
                  <p:cNvPr id="190" name="Picture 7"/>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512967"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1" name="Group 80"/>
              <p:cNvGrpSpPr/>
              <p:nvPr/>
            </p:nvGrpSpPr>
            <p:grpSpPr>
              <a:xfrm>
                <a:off x="4879286" y="5885846"/>
                <a:ext cx="6565178" cy="760816"/>
                <a:chOff x="4902404" y="5885642"/>
                <a:chExt cx="6565178" cy="760816"/>
              </a:xfrm>
            </p:grpSpPr>
            <p:sp>
              <p:nvSpPr>
                <p:cNvPr id="126" name="Rectangle 125"/>
                <p:cNvSpPr/>
                <p:nvPr/>
              </p:nvSpPr>
              <p:spPr>
                <a:xfrm>
                  <a:off x="5978270" y="5896027"/>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chine Learning</a:t>
                  </a:r>
                </a:p>
              </p:txBody>
            </p:sp>
            <p:grpSp>
              <p:nvGrpSpPr>
                <p:cNvPr id="26" name="Group 25"/>
                <p:cNvGrpSpPr/>
                <p:nvPr/>
              </p:nvGrpSpPr>
              <p:grpSpPr>
                <a:xfrm>
                  <a:off x="7130912" y="5896027"/>
                  <a:ext cx="970356" cy="750431"/>
                  <a:chOff x="8211357" y="5901190"/>
                  <a:chExt cx="970356" cy="750431"/>
                </a:xfrm>
              </p:grpSpPr>
              <p:sp>
                <p:nvSpPr>
                  <p:cNvPr id="55" name="Rectangle 54"/>
                  <p:cNvSpPr/>
                  <p:nvPr/>
                </p:nvSpPr>
                <p:spPr>
                  <a:xfrm>
                    <a:off x="8211357"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HD Insight</a:t>
                    </a:r>
                  </a:p>
                </p:txBody>
              </p:sp>
              <p:pic>
                <p:nvPicPr>
                  <p:cNvPr id="192" name="Picture 2"/>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8714504"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399015" y="5885642"/>
                  <a:ext cx="970356" cy="750431"/>
                  <a:chOff x="10499912" y="5901190"/>
                  <a:chExt cx="970356" cy="750431"/>
                </a:xfrm>
              </p:grpSpPr>
              <p:sp>
                <p:nvSpPr>
                  <p:cNvPr id="57" name="Rectangle 56"/>
                  <p:cNvSpPr/>
                  <p:nvPr/>
                </p:nvSpPr>
                <p:spPr>
                  <a:xfrm>
                    <a:off x="10499912"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ackup and Recovery</a:t>
                    </a:r>
                  </a:p>
                </p:txBody>
              </p:sp>
              <p:pic>
                <p:nvPicPr>
                  <p:cNvPr id="193" name="Picture 14"/>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11074501"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4902404" y="5896027"/>
                  <a:ext cx="970356" cy="750431"/>
                  <a:chOff x="5962397" y="5901190"/>
                  <a:chExt cx="970356" cy="750431"/>
                </a:xfrm>
              </p:grpSpPr>
              <p:sp>
                <p:nvSpPr>
                  <p:cNvPr id="167" name="Rectangle 166"/>
                  <p:cNvSpPr/>
                  <p:nvPr/>
                </p:nvSpPr>
                <p:spPr>
                  <a:xfrm>
                    <a:off x="5962397"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QL Database</a:t>
                    </a:r>
                  </a:p>
                </p:txBody>
              </p:sp>
              <p:pic>
                <p:nvPicPr>
                  <p:cNvPr id="194" name="Picture 3"/>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6516990"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261782" y="5896027"/>
                  <a:ext cx="987605" cy="750431"/>
                  <a:chOff x="9352453" y="5901190"/>
                  <a:chExt cx="987605" cy="750431"/>
                </a:xfrm>
              </p:grpSpPr>
              <p:sp>
                <p:nvSpPr>
                  <p:cNvPr id="62" name="Rectangle 61"/>
                  <p:cNvSpPr/>
                  <p:nvPr/>
                </p:nvSpPr>
                <p:spPr>
                  <a:xfrm>
                    <a:off x="9352453" y="5901190"/>
                    <a:ext cx="987605"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aching</a:t>
                    </a:r>
                  </a:p>
                </p:txBody>
              </p:sp>
              <p:pic>
                <p:nvPicPr>
                  <p:cNvPr id="195" name="Picture 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9955426"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497226" y="5885642"/>
                  <a:ext cx="970356" cy="750431"/>
                  <a:chOff x="10497226" y="5885642"/>
                  <a:chExt cx="970356" cy="750431"/>
                </a:xfrm>
              </p:grpSpPr>
              <p:sp>
                <p:nvSpPr>
                  <p:cNvPr id="210" name="Rectangle 209"/>
                  <p:cNvSpPr/>
                  <p:nvPr/>
                </p:nvSpPr>
                <p:spPr>
                  <a:xfrm>
                    <a:off x="10497226" y="5885642"/>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StorSimple</a:t>
                    </a:r>
                    <a:endParaRPr kumimoji="0" lang="en-US" sz="11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207"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10943863"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pic>
          <p:nvPicPr>
            <p:cNvPr id="129" name="Picture 12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558283" y="5342332"/>
              <a:ext cx="334308" cy="323860"/>
            </a:xfrm>
            <a:prstGeom prst="rect">
              <a:avLst/>
            </a:prstGeom>
          </p:spPr>
        </p:pic>
      </p:grpSp>
    </p:spTree>
    <p:extLst>
      <p:ext uri="{BB962C8B-B14F-4D97-AF65-F5344CB8AC3E}">
        <p14:creationId xmlns:p14="http://schemas.microsoft.com/office/powerpoint/2010/main" val="19836086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8027" y="240957"/>
            <a:ext cx="6455422" cy="646331"/>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3600" b="1" i="0" u="none" strike="noStrike" kern="1200" cap="none" spc="0" normalizeH="0" baseline="0" noProof="0" dirty="0" smtClean="0">
                <a:ln>
                  <a:noFill/>
                </a:ln>
                <a:solidFill>
                  <a:srgbClr val="FFFFFF"/>
                </a:solidFill>
                <a:effectLst/>
                <a:uLnTx/>
                <a:uFillTx/>
                <a:latin typeface="Segoe UI"/>
                <a:ea typeface="+mn-ea"/>
                <a:cs typeface="+mn-cs"/>
              </a:rPr>
              <a:t>교육용 무료 </a:t>
            </a:r>
            <a:r>
              <a:rPr kumimoji="0" lang="en-US" altLang="ko-KR" sz="3600" b="1" i="0" u="none" strike="noStrike" kern="1200" cap="none" spc="0" normalizeH="0" baseline="0" noProof="0" dirty="0" smtClean="0">
                <a:ln>
                  <a:noFill/>
                </a:ln>
                <a:solidFill>
                  <a:srgbClr val="FFFFFF"/>
                </a:solidFill>
                <a:effectLst/>
                <a:uLnTx/>
                <a:uFillTx/>
                <a:latin typeface="Segoe UI"/>
                <a:ea typeface="+mn-ea"/>
                <a:cs typeface="+mn-cs"/>
              </a:rPr>
              <a:t>Azure </a:t>
            </a:r>
            <a:r>
              <a:rPr kumimoji="0" lang="ko-KR" altLang="en-US" sz="3600" b="1" i="0" u="none" strike="noStrike" kern="1200" cap="none" spc="0" normalizeH="0" baseline="0" noProof="0" dirty="0" smtClean="0">
                <a:ln>
                  <a:noFill/>
                </a:ln>
                <a:solidFill>
                  <a:srgbClr val="FFFFFF"/>
                </a:solidFill>
                <a:effectLst/>
                <a:uLnTx/>
                <a:uFillTx/>
                <a:latin typeface="Segoe UI"/>
                <a:ea typeface="+mn-ea"/>
                <a:cs typeface="+mn-cs"/>
              </a:rPr>
              <a:t>이용 </a:t>
            </a:r>
            <a:r>
              <a:rPr kumimoji="0" lang="en-US" altLang="ko-KR" sz="3600" b="1" i="0" u="none" strike="noStrike" kern="1200" cap="none" spc="0" normalizeH="0" baseline="0" noProof="0" dirty="0" smtClean="0">
                <a:ln>
                  <a:noFill/>
                </a:ln>
                <a:solidFill>
                  <a:srgbClr val="FFFFFF"/>
                </a:solidFill>
                <a:effectLst/>
                <a:uLnTx/>
                <a:uFillTx/>
                <a:latin typeface="Segoe UI"/>
                <a:ea typeface="+mn-ea"/>
                <a:cs typeface="+mn-cs"/>
              </a:rPr>
              <a:t>Guide</a:t>
            </a:r>
            <a:endParaRPr kumimoji="0" lang="ko-KR" altLang="en-US" sz="36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Box 4"/>
          <p:cNvSpPr txBox="1"/>
          <p:nvPr/>
        </p:nvSpPr>
        <p:spPr>
          <a:xfrm>
            <a:off x="858795" y="1105930"/>
            <a:ext cx="9356920" cy="369332"/>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800" b="0" i="0" u="none" strike="noStrike" kern="1200" cap="none" spc="0" normalizeH="0" baseline="0" noProof="0" dirty="0" smtClean="0">
                <a:ln>
                  <a:noFill/>
                </a:ln>
                <a:solidFill>
                  <a:srgbClr val="FFFFFF"/>
                </a:solidFill>
                <a:effectLst/>
                <a:uLnTx/>
                <a:uFillTx/>
                <a:latin typeface="Segoe UI"/>
                <a:ea typeface="+mn-ea"/>
                <a:cs typeface="+mn-cs"/>
              </a:rPr>
              <a:t>대학교 및 고등학교 교육시 아래와 같은 </a:t>
            </a:r>
            <a:r>
              <a:rPr kumimoji="0" lang="en-US" altLang="ko-KR" sz="1800" b="0" i="0" u="none" strike="noStrike" kern="1200" cap="none" spc="0" normalizeH="0" baseline="0" noProof="0" dirty="0" smtClean="0">
                <a:ln>
                  <a:noFill/>
                </a:ln>
                <a:solidFill>
                  <a:srgbClr val="FFFFFF"/>
                </a:solidFill>
                <a:effectLst/>
                <a:uLnTx/>
                <a:uFillTx/>
                <a:latin typeface="Segoe UI"/>
                <a:ea typeface="+mn-ea"/>
                <a:cs typeface="+mn-cs"/>
              </a:rPr>
              <a:t>Microsoft</a:t>
            </a:r>
            <a:r>
              <a:rPr kumimoji="0" lang="ko-KR" altLang="en-US" sz="1800" b="0" i="0" u="none" strike="noStrike" kern="1200" cap="none" spc="0" normalizeH="0" baseline="0" noProof="0" dirty="0" smtClean="0">
                <a:ln>
                  <a:noFill/>
                </a:ln>
                <a:solidFill>
                  <a:srgbClr val="FFFFFF"/>
                </a:solidFill>
                <a:effectLst/>
                <a:uLnTx/>
                <a:uFillTx/>
                <a:latin typeface="Segoe UI"/>
                <a:ea typeface="+mn-ea"/>
                <a:cs typeface="+mn-cs"/>
              </a:rPr>
              <a:t>의 무료 </a:t>
            </a:r>
            <a:r>
              <a:rPr kumimoji="0" lang="en-US" altLang="ko-KR" sz="1800" b="0" i="0" u="none" strike="noStrike" kern="1200" cap="none" spc="0" normalizeH="0" baseline="0" noProof="0" dirty="0" smtClean="0">
                <a:ln>
                  <a:noFill/>
                </a:ln>
                <a:solidFill>
                  <a:srgbClr val="FFFFFF"/>
                </a:solidFill>
                <a:effectLst/>
                <a:uLnTx/>
                <a:uFillTx/>
                <a:latin typeface="Segoe UI"/>
                <a:ea typeface="+mn-ea"/>
                <a:cs typeface="+mn-cs"/>
              </a:rPr>
              <a:t>Azure</a:t>
            </a:r>
            <a:r>
              <a:rPr kumimoji="0" lang="ko-KR" altLang="en-US" sz="1800" b="0" i="0" u="none" strike="noStrike" kern="1200" cap="none" spc="0" normalizeH="0" baseline="0" noProof="0" dirty="0" smtClean="0">
                <a:ln>
                  <a:noFill/>
                </a:ln>
                <a:solidFill>
                  <a:srgbClr val="FFFFFF"/>
                </a:solidFill>
                <a:effectLst/>
                <a:uLnTx/>
                <a:uFillTx/>
                <a:latin typeface="Segoe UI"/>
                <a:ea typeface="+mn-ea"/>
                <a:cs typeface="+mn-cs"/>
              </a:rPr>
              <a:t>를 이용하실 수 있습니다</a:t>
            </a:r>
            <a:r>
              <a:rPr kumimoji="0" lang="en-US" altLang="ko-KR" sz="1800" b="0" i="0" u="none" strike="noStrike" kern="1200" cap="none" spc="0" normalizeH="0" baseline="0" noProof="0" dirty="0" smtClean="0">
                <a:ln>
                  <a:noFill/>
                </a:ln>
                <a:solidFill>
                  <a:srgbClr val="FFFFFF"/>
                </a:solidFill>
                <a:effectLst/>
                <a:uLnTx/>
                <a:uFillTx/>
                <a:latin typeface="Segoe UI"/>
                <a:ea typeface="+mn-ea"/>
                <a:cs typeface="+mn-cs"/>
              </a:rPr>
              <a:t>.</a:t>
            </a:r>
            <a:endParaRPr kumimoji="0" lang="ko-KR" alt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7" name="Picture 6"/>
          <p:cNvPicPr>
            <a:picLocks noChangeAspect="1"/>
          </p:cNvPicPr>
          <p:nvPr/>
        </p:nvPicPr>
        <p:blipFill>
          <a:blip r:embed="rId2"/>
          <a:stretch>
            <a:fillRect/>
          </a:stretch>
        </p:blipFill>
        <p:spPr>
          <a:xfrm>
            <a:off x="1779373" y="1749898"/>
            <a:ext cx="2610118" cy="1549356"/>
          </a:xfrm>
          <a:prstGeom prst="rect">
            <a:avLst/>
          </a:prstGeom>
        </p:spPr>
      </p:pic>
      <p:sp>
        <p:nvSpPr>
          <p:cNvPr id="8" name="TextBox 7"/>
          <p:cNvSpPr txBox="1"/>
          <p:nvPr/>
        </p:nvSpPr>
        <p:spPr>
          <a:xfrm>
            <a:off x="4534711" y="1669584"/>
            <a:ext cx="2561342" cy="369332"/>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smtClean="0">
                <a:ln>
                  <a:noFill/>
                </a:ln>
                <a:solidFill>
                  <a:srgbClr val="00B0F0"/>
                </a:solidFill>
                <a:effectLst/>
                <a:uLnTx/>
                <a:uFillTx/>
                <a:latin typeface="Segoe UI"/>
                <a:ea typeface="+mn-ea"/>
                <a:cs typeface="+mn-cs"/>
              </a:rPr>
              <a:t>Azure Educator Grant</a:t>
            </a:r>
            <a:endParaRPr kumimoji="0" lang="ko-KR" altLang="en-US" sz="1800" b="1" i="0" u="none" strike="noStrike" kern="1200" cap="none" spc="0" normalizeH="0" baseline="0" noProof="0" dirty="0">
              <a:ln>
                <a:noFill/>
              </a:ln>
              <a:solidFill>
                <a:srgbClr val="00B0F0"/>
              </a:solidFill>
              <a:effectLst/>
              <a:uLnTx/>
              <a:uFillTx/>
              <a:latin typeface="Segoe UI"/>
              <a:ea typeface="+mn-ea"/>
              <a:cs typeface="+mn-cs"/>
            </a:endParaRPr>
          </a:p>
        </p:txBody>
      </p:sp>
      <p:sp>
        <p:nvSpPr>
          <p:cNvPr id="9" name="TextBox 8"/>
          <p:cNvSpPr txBox="1"/>
          <p:nvPr/>
        </p:nvSpPr>
        <p:spPr>
          <a:xfrm>
            <a:off x="4534711" y="2038916"/>
            <a:ext cx="5564344" cy="1569660"/>
          </a:xfrm>
          <a:prstGeom prst="rect">
            <a:avLst/>
          </a:prstGeom>
          <a:noFill/>
        </p:spPr>
        <p:txBody>
          <a:bodyPr wrap="none" rtlCol="0">
            <a:spAutoFit/>
          </a:bodyPr>
          <a:lstStyle/>
          <a:p>
            <a:pPr marL="285750" marR="0" lvl="0" indent="-285750" algn="l" defTabSz="914400" rtl="0" eaLnBrk="1" fontAlgn="auto" latinLnBrk="1" hangingPunct="1">
              <a:lnSpc>
                <a:spcPct val="150000"/>
              </a:lnSpc>
              <a:spcBef>
                <a:spcPts val="0"/>
              </a:spcBef>
              <a:spcAft>
                <a:spcPts val="0"/>
              </a:spcAft>
              <a:buClrTx/>
              <a:buSzTx/>
              <a:buFont typeface="Arial" panose="020B0604020202020204" pitchFamily="34" charset="0"/>
              <a:buChar char="•"/>
              <a:tabLst/>
              <a:defRPr/>
            </a:pP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애저 전 기능 사용 가능</a:t>
            </a:r>
            <a:endPar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endParaRPr>
          </a:p>
          <a:p>
            <a:pPr marL="285750" marR="0" lvl="0" indent="-285750" algn="l" defTabSz="914400" rtl="0" eaLnBrk="1" fontAlgn="auto" latinLnBrk="1" hangingPunct="1">
              <a:lnSpc>
                <a:spcPct val="150000"/>
              </a:lnSpc>
              <a:spcBef>
                <a:spcPts val="0"/>
              </a:spcBef>
              <a:spcAft>
                <a:spcPts val="0"/>
              </a:spcAft>
              <a:buClrTx/>
              <a:buSzTx/>
              <a:buFont typeface="Arial" panose="020B0604020202020204" pitchFamily="34" charset="0"/>
              <a:buChar char="•"/>
              <a:tabLst/>
              <a:defRPr/>
            </a:pP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지도교수</a:t>
            </a:r>
            <a:r>
              <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rPr>
              <a:t>: 1</a:t>
            </a: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년간 월 </a:t>
            </a:r>
            <a:r>
              <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rPr>
              <a:t>$250, </a:t>
            </a: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학생</a:t>
            </a:r>
            <a:r>
              <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rPr>
              <a:t>: 6</a:t>
            </a: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개월간 월 </a:t>
            </a:r>
            <a:r>
              <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rPr>
              <a:t>$100</a:t>
            </a:r>
          </a:p>
          <a:p>
            <a:pPr marL="285750" marR="0" lvl="0" indent="-285750" algn="l" defTabSz="914400" rtl="0" eaLnBrk="1" fontAlgn="auto" latinLnBrk="1" hangingPunct="1">
              <a:lnSpc>
                <a:spcPct val="150000"/>
              </a:lnSpc>
              <a:spcBef>
                <a:spcPts val="0"/>
              </a:spcBef>
              <a:spcAft>
                <a:spcPts val="0"/>
              </a:spcAft>
              <a:buClrTx/>
              <a:buSzTx/>
              <a:buFont typeface="Arial" panose="020B0604020202020204" pitchFamily="34" charset="0"/>
              <a:buChar char="•"/>
              <a:tabLst/>
              <a:defRPr/>
            </a:pP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대학교만 신청 가능</a:t>
            </a:r>
            <a:r>
              <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rPr>
              <a:t>, </a:t>
            </a: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지도 교수가 직접 신청</a:t>
            </a:r>
            <a:endPar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endParaRPr>
          </a:p>
          <a:p>
            <a:pPr marL="285750" marR="0" lvl="0" indent="-285750" algn="l" defTabSz="914400" rtl="0" eaLnBrk="1" fontAlgn="auto" latinLnBrk="1" hangingPunct="1">
              <a:lnSpc>
                <a:spcPct val="150000"/>
              </a:lnSpc>
              <a:spcBef>
                <a:spcPts val="0"/>
              </a:spcBef>
              <a:spcAft>
                <a:spcPts val="0"/>
              </a:spcAft>
              <a:buClrTx/>
              <a:buSzTx/>
              <a:buFont typeface="Arial" panose="020B0604020202020204" pitchFamily="34" charset="0"/>
              <a:buChar char="•"/>
              <a:tabLst/>
              <a:defRPr/>
            </a:pP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일정 수준의 정규 교과 과정을 신청하여 승인 받아 사용</a:t>
            </a:r>
            <a:endParaRPr kumimoji="0" lang="ko-KR" altLang="en-US" sz="16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8193"/>
          <a:stretch/>
        </p:blipFill>
        <p:spPr>
          <a:xfrm>
            <a:off x="1779373" y="3935869"/>
            <a:ext cx="2630617" cy="1066902"/>
          </a:xfrm>
          <a:prstGeom prst="rect">
            <a:avLst/>
          </a:prstGeom>
        </p:spPr>
      </p:pic>
      <p:sp>
        <p:nvSpPr>
          <p:cNvPr id="11" name="TextBox 10"/>
          <p:cNvSpPr txBox="1"/>
          <p:nvPr/>
        </p:nvSpPr>
        <p:spPr>
          <a:xfrm>
            <a:off x="4534711" y="3832018"/>
            <a:ext cx="2241126" cy="369332"/>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smtClean="0">
                <a:ln>
                  <a:noFill/>
                </a:ln>
                <a:solidFill>
                  <a:srgbClr val="00B0F0"/>
                </a:solidFill>
                <a:effectLst/>
                <a:uLnTx/>
                <a:uFillTx/>
                <a:latin typeface="Segoe UI"/>
                <a:ea typeface="+mn-ea"/>
                <a:cs typeface="+mn-cs"/>
              </a:rPr>
              <a:t>DreamSpark Azure</a:t>
            </a:r>
            <a:endParaRPr kumimoji="0" lang="ko-KR" altLang="en-US" sz="1800" b="1" i="0" u="none" strike="noStrike" kern="1200" cap="none" spc="0" normalizeH="0" baseline="0" noProof="0" dirty="0">
              <a:ln>
                <a:noFill/>
              </a:ln>
              <a:solidFill>
                <a:srgbClr val="00B0F0"/>
              </a:solidFill>
              <a:effectLst/>
              <a:uLnTx/>
              <a:uFillTx/>
              <a:latin typeface="Segoe UI"/>
              <a:ea typeface="+mn-ea"/>
              <a:cs typeface="+mn-cs"/>
            </a:endParaRPr>
          </a:p>
        </p:txBody>
      </p:sp>
      <p:sp>
        <p:nvSpPr>
          <p:cNvPr id="12" name="TextBox 11"/>
          <p:cNvSpPr txBox="1"/>
          <p:nvPr/>
        </p:nvSpPr>
        <p:spPr>
          <a:xfrm>
            <a:off x="4534711" y="4201350"/>
            <a:ext cx="5976123" cy="1477328"/>
          </a:xfrm>
          <a:prstGeom prst="rect">
            <a:avLst/>
          </a:prstGeom>
          <a:noFill/>
        </p:spPr>
        <p:txBody>
          <a:bodyPr wrap="none" rtlCol="0">
            <a:spAutoFit/>
          </a:bodyPr>
          <a:lstStyle/>
          <a:p>
            <a:pPr marL="285750" marR="0" lvl="0" indent="-285750" algn="l" defTabSz="914400" rtl="0" eaLnBrk="1" fontAlgn="auto" latinLnBrk="1" hangingPunct="1">
              <a:lnSpc>
                <a:spcPct val="150000"/>
              </a:lnSpc>
              <a:spcBef>
                <a:spcPts val="0"/>
              </a:spcBef>
              <a:spcAft>
                <a:spcPts val="0"/>
              </a:spcAft>
              <a:buClrTx/>
              <a:buSzTx/>
              <a:buFont typeface="Arial" panose="020B0604020202020204" pitchFamily="34" charset="0"/>
              <a:buChar char="•"/>
              <a:tabLst/>
              <a:defRPr/>
            </a:pP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애저 일부 기능 사용 가능</a:t>
            </a:r>
            <a:r>
              <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rPr>
              <a:t>: Web App, MySQL, </a:t>
            </a:r>
            <a:r>
              <a:rPr kumimoji="0" lang="en-US" altLang="ko-KR" sz="1600" b="0" i="0" u="none" strike="noStrike" kern="1200" cap="none" spc="0" normalizeH="0" baseline="0" noProof="0" dirty="0" err="1" smtClean="0">
                <a:ln>
                  <a:noFill/>
                </a:ln>
                <a:solidFill>
                  <a:srgbClr val="FFFFFF"/>
                </a:solidFill>
                <a:effectLst/>
                <a:uLnTx/>
                <a:uFillTx/>
                <a:latin typeface="Segoe UI"/>
                <a:ea typeface="+mn-ea"/>
                <a:cs typeface="+mn-cs"/>
              </a:rPr>
              <a:t>Xamarin</a:t>
            </a:r>
            <a:r>
              <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rPr>
              <a:t>, VSO</a:t>
            </a:r>
            <a:br>
              <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rPr>
            </a:br>
            <a:r>
              <a:rPr kumimoji="0" lang="en-US" altLang="ko-KR" sz="1200" b="0" i="0" u="none" strike="noStrike" kern="1200" cap="none" spc="0" normalizeH="0" baseline="0" noProof="0" dirty="0" smtClean="0">
                <a:ln>
                  <a:noFill/>
                </a:ln>
                <a:solidFill>
                  <a:srgbClr val="FFFFFF"/>
                </a:solidFill>
                <a:effectLst/>
                <a:uLnTx/>
                <a:uFillTx/>
                <a:latin typeface="Segoe UI"/>
                <a:ea typeface="+mn-ea"/>
                <a:cs typeface="+mn-cs"/>
              </a:rPr>
              <a:t>Mobile</a:t>
            </a:r>
            <a:r>
              <a:rPr kumimoji="0" lang="ko-KR" altLang="en-US" sz="1200" b="0" i="0" u="none" strike="noStrike" kern="1200" cap="none" spc="0" normalizeH="0" baseline="0" noProof="0" dirty="0" smtClean="0">
                <a:ln>
                  <a:noFill/>
                </a:ln>
                <a:solidFill>
                  <a:srgbClr val="FFFFFF"/>
                </a:solidFill>
                <a:effectLst/>
                <a:uLnTx/>
                <a:uFillTx/>
                <a:latin typeface="Segoe UI"/>
                <a:ea typeface="+mn-ea"/>
                <a:cs typeface="+mn-cs"/>
              </a:rPr>
              <a:t> </a:t>
            </a:r>
            <a:r>
              <a:rPr kumimoji="0" lang="en-US" altLang="ko-KR" sz="1200" b="0" i="0" u="none" strike="noStrike" kern="1200" cap="none" spc="0" normalizeH="0" baseline="0" noProof="0" dirty="0" smtClean="0">
                <a:ln>
                  <a:noFill/>
                </a:ln>
                <a:solidFill>
                  <a:srgbClr val="FFFFFF"/>
                </a:solidFill>
                <a:effectLst/>
                <a:uLnTx/>
                <a:uFillTx/>
                <a:latin typeface="Segoe UI"/>
                <a:ea typeface="+mn-ea"/>
                <a:cs typeface="+mn-cs"/>
              </a:rPr>
              <a:t>App, MS SQL</a:t>
            </a:r>
            <a:r>
              <a:rPr kumimoji="0" lang="ko-KR" altLang="en-US" sz="1200" b="0" i="0" u="none" strike="noStrike" kern="1200" cap="none" spc="0" normalizeH="0" baseline="0" noProof="0" dirty="0" smtClean="0">
                <a:ln>
                  <a:noFill/>
                </a:ln>
                <a:solidFill>
                  <a:srgbClr val="FFFFFF"/>
                </a:solidFill>
                <a:effectLst/>
                <a:uLnTx/>
                <a:uFillTx/>
                <a:latin typeface="Segoe UI"/>
                <a:ea typeface="+mn-ea"/>
                <a:cs typeface="+mn-cs"/>
              </a:rPr>
              <a:t>은 </a:t>
            </a:r>
            <a:r>
              <a:rPr kumimoji="0" lang="en-US" altLang="ko-KR" sz="1200" b="0" i="0" u="none" strike="noStrike" kern="1200" cap="none" spc="0" normalizeH="0" baseline="0" noProof="0" dirty="0" smtClean="0">
                <a:ln>
                  <a:noFill/>
                </a:ln>
                <a:solidFill>
                  <a:srgbClr val="FFFFFF"/>
                </a:solidFill>
                <a:effectLst/>
                <a:uLnTx/>
                <a:uFillTx/>
                <a:latin typeface="Segoe UI"/>
                <a:ea typeface="+mn-ea"/>
                <a:cs typeface="+mn-cs"/>
              </a:rPr>
              <a:t>1</a:t>
            </a:r>
            <a:r>
              <a:rPr kumimoji="0" lang="ko-KR" altLang="en-US" sz="1200" b="0" i="0" u="none" strike="noStrike" kern="1200" cap="none" spc="0" normalizeH="0" baseline="0" noProof="0" dirty="0" smtClean="0">
                <a:ln>
                  <a:noFill/>
                </a:ln>
                <a:solidFill>
                  <a:srgbClr val="FFFFFF"/>
                </a:solidFill>
                <a:effectLst/>
                <a:uLnTx/>
                <a:uFillTx/>
                <a:latin typeface="Segoe UI"/>
                <a:ea typeface="+mn-ea"/>
                <a:cs typeface="+mn-cs"/>
              </a:rPr>
              <a:t>월중 가능 </a:t>
            </a:r>
            <a:endPar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endParaRPr>
          </a:p>
          <a:p>
            <a:pPr marL="285750" marR="0" lvl="0" indent="-285750" algn="l" defTabSz="914400" rtl="0" eaLnBrk="1" fontAlgn="auto" latinLnBrk="1" hangingPunct="1">
              <a:lnSpc>
                <a:spcPct val="150000"/>
              </a:lnSpc>
              <a:spcBef>
                <a:spcPts val="0"/>
              </a:spcBef>
              <a:spcAft>
                <a:spcPts val="0"/>
              </a:spcAft>
              <a:buClrTx/>
              <a:buSzTx/>
              <a:buFont typeface="Arial" panose="020B0604020202020204" pitchFamily="34" charset="0"/>
              <a:buChar char="•"/>
              <a:tabLst/>
              <a:defRPr/>
            </a:pP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학생이 직접 신청 </a:t>
            </a:r>
            <a:r>
              <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rPr>
              <a:t>(</a:t>
            </a: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한국마이크로소프트에서 인증 코드 지원</a:t>
            </a:r>
            <a:r>
              <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rPr>
              <a:t>)</a:t>
            </a:r>
          </a:p>
          <a:p>
            <a:pPr marL="285750" marR="0" lvl="0" indent="-285750" algn="l" defTabSz="914400" rtl="0" eaLnBrk="1" fontAlgn="auto" latinLnBrk="1" hangingPunct="1">
              <a:lnSpc>
                <a:spcPct val="150000"/>
              </a:lnSpc>
              <a:spcBef>
                <a:spcPts val="0"/>
              </a:spcBef>
              <a:spcAft>
                <a:spcPts val="0"/>
              </a:spcAft>
              <a:buClrTx/>
              <a:buSzTx/>
              <a:buFont typeface="Arial" panose="020B0604020202020204" pitchFamily="34" charset="0"/>
              <a:buChar char="•"/>
              <a:tabLst/>
              <a:defRPr/>
            </a:pPr>
            <a:r>
              <a:rPr kumimoji="0" lang="ko-KR" altLang="en-US" sz="1600" b="0" i="0" u="none" strike="noStrike" kern="1200" cap="none" spc="0" normalizeH="0" baseline="0" noProof="0" dirty="0" smtClean="0">
                <a:ln>
                  <a:noFill/>
                </a:ln>
                <a:solidFill>
                  <a:srgbClr val="FFFFFF"/>
                </a:solidFill>
                <a:effectLst/>
                <a:uLnTx/>
                <a:uFillTx/>
                <a:latin typeface="Segoe UI"/>
                <a:ea typeface="+mn-ea"/>
                <a:cs typeface="+mn-cs"/>
              </a:rPr>
              <a:t>모든 학생이 신청 가능</a:t>
            </a:r>
            <a:endParaRPr kumimoji="0" lang="en-US" altLang="ko-KR" sz="1600" b="0" i="0" u="none" strike="noStrike" kern="1200" cap="none" spc="0" normalizeH="0" baseline="0" noProof="0" dirty="0" smtClean="0">
              <a:ln>
                <a:noFill/>
              </a:ln>
              <a:solidFill>
                <a:srgbClr val="FFFFFF"/>
              </a:solidFill>
              <a:effectLst/>
              <a:uLnTx/>
              <a:uFillTx/>
              <a:latin typeface="Segoe UI"/>
              <a:ea typeface="+mn-ea"/>
              <a:cs typeface="+mn-cs"/>
            </a:endParaRPr>
          </a:p>
        </p:txBody>
      </p:sp>
      <p:sp>
        <p:nvSpPr>
          <p:cNvPr id="13" name="TextBox 12"/>
          <p:cNvSpPr txBox="1"/>
          <p:nvPr/>
        </p:nvSpPr>
        <p:spPr>
          <a:xfrm>
            <a:off x="1729944" y="5999206"/>
            <a:ext cx="8764772" cy="523220"/>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2800" b="0" i="0" u="none" strike="noStrike" kern="1200" cap="none" spc="0" normalizeH="0" baseline="0" noProof="0" dirty="0" smtClean="0">
                <a:ln>
                  <a:noFill/>
                </a:ln>
                <a:solidFill>
                  <a:srgbClr val="FFFFFF"/>
                </a:solidFill>
                <a:effectLst/>
                <a:uLnTx/>
                <a:uFillTx/>
                <a:latin typeface="Segoe UI"/>
                <a:ea typeface="+mn-ea"/>
                <a:cs typeface="+mn-cs"/>
              </a:rPr>
              <a:t>교육을 위한 </a:t>
            </a:r>
            <a:r>
              <a:rPr kumimoji="0" lang="en-US" altLang="ko-KR" sz="2800" b="0" i="0" u="none" strike="noStrike" kern="1200" cap="none" spc="0" normalizeH="0" baseline="0" noProof="0" dirty="0" smtClean="0">
                <a:ln>
                  <a:noFill/>
                </a:ln>
                <a:solidFill>
                  <a:srgbClr val="FFFFFF"/>
                </a:solidFill>
                <a:effectLst/>
                <a:uLnTx/>
                <a:uFillTx/>
                <a:latin typeface="Segoe UI"/>
                <a:ea typeface="+mn-ea"/>
                <a:cs typeface="+mn-cs"/>
              </a:rPr>
              <a:t>Azure </a:t>
            </a:r>
            <a:r>
              <a:rPr kumimoji="0" lang="ko-KR" altLang="en-US" sz="2800" b="0" i="0" u="none" strike="noStrike" kern="1200" cap="none" spc="0" normalizeH="0" baseline="0" noProof="0" dirty="0" smtClean="0">
                <a:ln>
                  <a:noFill/>
                </a:ln>
                <a:solidFill>
                  <a:srgbClr val="FFFFFF"/>
                </a:solidFill>
                <a:effectLst/>
                <a:uLnTx/>
                <a:uFillTx/>
                <a:latin typeface="Segoe UI"/>
                <a:ea typeface="+mn-ea"/>
                <a:cs typeface="+mn-cs"/>
              </a:rPr>
              <a:t>문의 ▶ </a:t>
            </a:r>
            <a:r>
              <a:rPr kumimoji="0" lang="en-US" altLang="ko-KR" sz="2800" b="0" i="0" u="none" strike="noStrike" kern="1200" cap="none" spc="0" normalizeH="0" baseline="0" noProof="0" dirty="0" smtClean="0">
                <a:ln>
                  <a:noFill/>
                </a:ln>
                <a:solidFill>
                  <a:srgbClr val="FFFFFF"/>
                </a:solidFill>
                <a:effectLst/>
                <a:uLnTx/>
                <a:uFillTx/>
                <a:latin typeface="Segoe UI"/>
                <a:ea typeface="+mn-ea"/>
                <a:cs typeface="+mn-cs"/>
                <a:hlinkClick r:id="rId4"/>
              </a:rPr>
              <a:t>msdream@microsoft.com</a:t>
            </a:r>
            <a:endParaRPr kumimoji="0" lang="ko-KR" altLang="en-US" sz="2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86869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et It Gear 1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486"/>
            <a:ext cx="12182746" cy="6745249"/>
          </a:xfrm>
          <a:prstGeom prst="rect">
            <a:avLst/>
          </a:prstGeom>
        </p:spPr>
      </p:pic>
    </p:spTree>
    <p:extLst>
      <p:ext uri="{BB962C8B-B14F-4D97-AF65-F5344CB8AC3E}">
        <p14:creationId xmlns:p14="http://schemas.microsoft.com/office/powerpoint/2010/main" val="2868873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456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2" descr="Agenda"/>
          <p:cNvSpPr>
            <a:spLocks noChangeAspect="1" noChangeArrowheads="1"/>
          </p:cNvSpPr>
          <p:nvPr/>
        </p:nvSpPr>
        <p:spPr bwMode="auto">
          <a:xfrm>
            <a:off x="-37351" y="-2872898"/>
            <a:ext cx="6162920" cy="61629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ko-KR" altLang="en-US" sz="1765" b="0" i="0" u="none" strike="noStrike" kern="1200" cap="none" spc="0" normalizeH="0" baseline="0" noProof="0">
              <a:ln>
                <a:noFill/>
              </a:ln>
              <a:solidFill>
                <a:srgbClr val="060F18"/>
              </a:solidFill>
              <a:effectLst/>
              <a:uLnTx/>
              <a:uFillTx/>
              <a:latin typeface="Segoe UI"/>
              <a:ea typeface="+mn-ea"/>
              <a:cs typeface="+mn-cs"/>
            </a:endParaRPr>
          </a:p>
        </p:txBody>
      </p:sp>
      <p:pic>
        <p:nvPicPr>
          <p:cNvPr id="2" name="그림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1602" y="2401901"/>
            <a:ext cx="9523116" cy="4123509"/>
          </a:xfrm>
          <a:prstGeom prst="rect">
            <a:avLst/>
          </a:prstGeom>
        </p:spPr>
      </p:pic>
    </p:spTree>
    <p:extLst>
      <p:ext uri="{BB962C8B-B14F-4D97-AF65-F5344CB8AC3E}">
        <p14:creationId xmlns:p14="http://schemas.microsoft.com/office/powerpoint/2010/main" val="375197848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b="1" dirty="0" smtClean="0"/>
              <a:t>War of IT</a:t>
            </a:r>
            <a:endParaRPr lang="ko-KR" altLang="en-US" b="1"/>
          </a:p>
        </p:txBody>
      </p:sp>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1" y="1367246"/>
            <a:ext cx="3316736" cy="4704589"/>
          </a:xfrm>
          <a:prstGeom prst="rect">
            <a:avLst/>
          </a:prstGeom>
        </p:spPr>
      </p:pic>
      <p:pic>
        <p:nvPicPr>
          <p:cNvPr id="4" name="그림 3"/>
          <p:cNvPicPr>
            <a:picLocks noChangeAspect="1"/>
          </p:cNvPicPr>
          <p:nvPr/>
        </p:nvPicPr>
        <p:blipFill>
          <a:blip r:embed="rId3"/>
          <a:stretch>
            <a:fillRect/>
          </a:stretch>
        </p:blipFill>
        <p:spPr>
          <a:xfrm>
            <a:off x="4930660" y="650114"/>
            <a:ext cx="7825042" cy="684457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3621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0269" y="2719316"/>
            <a:ext cx="3424524" cy="3424524"/>
          </a:xfrm>
          <a:prstGeom prst="rect">
            <a:avLst/>
          </a:prstGeom>
        </p:spPr>
      </p:pic>
      <p:sp>
        <p:nvSpPr>
          <p:cNvPr id="3" name="TextBox 2"/>
          <p:cNvSpPr txBox="1"/>
          <p:nvPr/>
        </p:nvSpPr>
        <p:spPr>
          <a:xfrm>
            <a:off x="1896205" y="631605"/>
            <a:ext cx="5961888" cy="1323439"/>
          </a:xfrm>
          <a:prstGeom prst="rect">
            <a:avLst/>
          </a:prstGeom>
          <a:noFill/>
        </p:spPr>
        <p:txBody>
          <a:bodyPr wrap="none" rtlCol="0">
            <a:spAutoFit/>
          </a:bodyPr>
          <a:lstStyle/>
          <a:p>
            <a:pPr defTabSz="1218987" latinLnBrk="0"/>
            <a:r>
              <a:rPr lang="en-US" sz="8000" dirty="0">
                <a:solidFill>
                  <a:srgbClr val="292929"/>
                </a:solidFill>
                <a:latin typeface="휴먼편지체" panose="02030504000101010101" pitchFamily="18" charset="-127"/>
                <a:ea typeface="휴먼편지체" panose="02030504000101010101" pitchFamily="18" charset="-127"/>
              </a:rPr>
              <a:t>Cloud Service</a:t>
            </a:r>
          </a:p>
        </p:txBody>
      </p:sp>
      <p:pic>
        <p:nvPicPr>
          <p:cNvPr id="4" name="Picture 3" descr="http://postfiles5.naver.net/20110624_148/cherry7017_130890113182513Pwx_JPEG/2.jpg?type=w1"/>
          <p:cNvPicPr/>
          <p:nvPr/>
        </p:nvPicPr>
        <p:blipFill>
          <a:blip r:embed="rId4">
            <a:extLst>
              <a:ext uri="{28A0092B-C50C-407E-A947-70E740481C1C}">
                <a14:useLocalDpi xmlns:a14="http://schemas.microsoft.com/office/drawing/2010/main" val="0"/>
              </a:ext>
            </a:extLst>
          </a:blip>
          <a:srcRect/>
          <a:stretch>
            <a:fillRect/>
          </a:stretch>
        </p:blipFill>
        <p:spPr bwMode="auto">
          <a:xfrm>
            <a:off x="2374072" y="2181138"/>
            <a:ext cx="3076575" cy="2250440"/>
          </a:xfrm>
          <a:prstGeom prst="rect">
            <a:avLst/>
          </a:prstGeom>
          <a:noFill/>
          <a:ln>
            <a:noFill/>
          </a:ln>
        </p:spPr>
      </p:pic>
      <p:pic>
        <p:nvPicPr>
          <p:cNvPr id="5" name="Picture 4" descr="http://www.consumerenergyreport.com/wp-content/uploads/2010/04/smartgrid.jpg"/>
          <p:cNvPicPr/>
          <p:nvPr/>
        </p:nvPicPr>
        <p:blipFill>
          <a:blip r:embed="rId5">
            <a:extLst>
              <a:ext uri="{28A0092B-C50C-407E-A947-70E740481C1C}">
                <a14:useLocalDpi xmlns:a14="http://schemas.microsoft.com/office/drawing/2010/main" val="0"/>
              </a:ext>
            </a:extLst>
          </a:blip>
          <a:srcRect/>
          <a:stretch>
            <a:fillRect/>
          </a:stretch>
        </p:blipFill>
        <p:spPr bwMode="auto">
          <a:xfrm>
            <a:off x="5631976" y="2419068"/>
            <a:ext cx="4776716" cy="2902841"/>
          </a:xfrm>
          <a:prstGeom prst="rect">
            <a:avLst/>
          </a:prstGeom>
          <a:ln>
            <a:noFill/>
          </a:ln>
          <a:effectLst>
            <a:softEdge rad="112500"/>
          </a:effectLst>
        </p:spPr>
      </p:pic>
    </p:spTree>
    <p:extLst>
      <p:ext uri="{BB962C8B-B14F-4D97-AF65-F5344CB8AC3E}">
        <p14:creationId xmlns:p14="http://schemas.microsoft.com/office/powerpoint/2010/main" val="3805773641"/>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4" descr="data:image/jpg;base64,/9j/4AAQSkZJRgABAQAAAQABAAD/2wCEAAkGBhQSERUUExQWFRUWGBoYGBgYGBkYGhkaHBwWFxcdHhgaHSYgGB0lGhgZHy8gJicpLCwsFx8xNTAqNSYrLCkBCQoKDgwOGg8PGiwkHyQsLCwpLCwpLC0sLCwsLCwsLCkpLCwsLCwpLCwsLCwsLCwsLCwsLCwsLCwsLCwsLCwsLP/AABEIAL4BCgMBIgACEQEDEQH/xAAcAAACAwEBAQEAAAAAAAAAAAAFBgMEBwIBAAj/xABNEAACAQIEAgYECQgIBQQDAAABAgMAEQQSITEFQQYTIlFhcTKBkaEHFCNCUmKxwdEVJDNygpLh8FNjc5OissLSQ6Oz0/EWFzRURGWD/8QAGgEAAwEBAQEAAAAAAAAAAAAAAQIDAAQFBv/EACkRAAICAgMAAAUDBQAAAAAAAAABAhEDIRIxQQQTImFxUYHwFEKRsdH/2gAMAwEAAhEDEQA/AMRsD4ef40XxHYw1uZVF/eJmb3CIUHhjzMBtcgUW4xjfQWwIIMhU62zkZR4WiWPasYDVNhYszgHQcz3Dcn2V6yKR2TY/RP3N+NvXVvhuHtcsN9LfVFi3tOVf2jWY0avYYSXq4nZkLLcEWBDC40GbeMKm4HMb60tu4Ddi9j37+I0386Icaxp6wKrH5O4uNLufTPt0/ZoTTN+E0rbk/QlhJL78vef4X9rVJPiVkNn5DRxv4XHzh7wLa8qHJNYWFcl61g47L85uAJe0NklXU2HL6wHcbMPDaqsODZ3CJZiTpbbz8BX2HZvRW5zaZd7nlp3+NPHAejxiAUDNM9gba/sjw+2pylRRKwn0L6NqZI4htfNI3Mhd/LkB51rQiAACiwGgA5UJ6NdHFwyXOsrDtHu52H486NUsV+pmyG1eZanyVwUpxTgCvq7tUbSW8axjosALnas06a9KpMU4wmBYm9+tZdAR3Z/mr3nn40X6XxST9jrxDEp+Wa/ZC8l8WJ5a+VLmDzSq0HDk6nDr+mxT6FhzOY7e38KpGNojOdOhaikhwpC4VRicUTbrLXSM/wBWh9M/XOgtsa5wcatNnmz43EsbiMEut/rP8+3h2Rbc7Vd4zwNYEzxmT4swytKIyGmb5wUnaO9rE2XwY6UL4bxFwwjhHVBtAF7RJ5ZiR8p5EZQdgKZKpGbuJoQUdWr8SnVY7djCQnRvA5TeTyWy/WO1GjxB3TJJInC8IqX6sFFxTx3+iNIFJ8L+HOljo98nN+aQnF4sgZ8RMbLE/MFjdRpyU30sSeTJwzgcUk5d0HFcbcZioC4WEgWVXkN1IX6IDH6vOjIESXhOIllRo+FQLhcJa74ue65rXu4JOeQ63zE201NtKk4F0cWKRxg4TiMQpIkx2LBEaEE5hGh1cg3HZAGmrUZlw6yyZMQTxCdLWwsIy4SE8s9zluO+Qs3cld8cKlkGLZ52JCDBYY2izm1hJIctx2k0kZRropvakKguCBDMWhDcSxYNjiJCBBCe5WHYS30Ywzd5qljIVeW0hbiWKU/oYwFw0J+tfsDzcknkBR7HQM9oZ2ygDs4DA75eQllGUhf7tPE1HNgiiiFrYdPm4PB6yEf1koAy355co+uaZE5CzjIi06DEymaVWUrhcKD1ceo1kbQmw5sQNNjS7h+HBZtQwtKfQuT6RFgRy+69NfGcQuHQx9nDJv1GHs0zeLyfNvzP+KqcOAujsoK9pyLHUdo217/xroSq/wAEb5V9mFcA3UJZeqwMZPK0k7/aL/vmi+AlC9uKMKeeJxRLP6lJuPIlB4Un8MNnZgApzEGSQ5mOp2uftv5U04GRbhrZmHzpNbeS8vdRcVQim2wxFh+t7RD4kjUNL8nCp7wlrHzCn9ap+GKTn6xhISb2i7KakgAkG7aKNydhQDiXTnCxD5WTrCPmjUewdmkfjHwuS3kaA2RzlA7JyZFXY+Oa/q0pODKKS8NdxvFUhTtOkKdy2Hv5+oUuN08wQNs9/GxrIoIuIcQbsK7Zj6Rvr+0d/wBkXot/7Q43nMgPMGQ3B53ub06hFd/8M5Sf8sUsR0SV9YJNT8x9DqbaNz9nroT0gwzpO4ZSouQtx81eytjseyBtTZwrHZWv3KxIKg8uzuPpldd6vrPnARgJAbDKwv4c6SWKMnrRDH8ROCXPZmYF6Y8PKYYy1gwQDLzBOoBHd2sxN7aKKK9K+GQZlSNArjKgKiwNhqTbQkD16amhnGuHzIkRS+RtgpOYltALfO7NhpffXeoODizujmU40vR06LcAwk+AVGWObUszLpIjNa923BFrcgQBpS9x/wCC6WO74YmZBrlNhIPVs/qsfCk/C4ySF8yM0brzBKkeH8Ka4vhRxHUNGyqzsMvWDskA6E2Gma17EWseVLoamuhMZbaGvKsTxpbMjHxVvSHkRow8dD4Ub6K8GDnrXF1U9kd5HPyH2+VI3Q6CPRbgRjyyOLyN6C81B8PpH+d62Pot0Y6heskF5mH7gPLz76q9Dei+S08w7ZHYU/NHefrfZ9jflpUr2wt+EJSvClqsdXXYiqgpTNem1Aem/HXw8doBeQEFjlzrGuoBkUEHXkNL235HFsbJjsVKRiMQxRQHZnktEFJ0IUWGtiAAL30tW4urF5K6NY4z8IeGgnSAFpXZgG6sZsl++3pH6o1t7Kk4zx5I1u7MitoqqLzzHYBFH6NSdLnXyrIhikiQjC/JR7PinHysnesaj0R4LrtmK0Q6OcQEJBGTDqbHr5rvMQDcFEG2uo2H62t2jFCybSHTiPAmmMZxYKRX/NsFCp6yQmxOc7A23JNhzNqJ4iJI+rjxKCSTeHh+HF0XuZvp25u/ZFtjvU/CsUqQmVCYIW7UuLxJ+XmOoHVofR30LWUckN6qycPkALITg8NLYGaRS2MxDWJORD8o+bSwI01sttaf7CVZQ43KHITGEyu36PA4a5C20Gdh6RHfootzFJeP4HLAxiZFRsoJQMGJB1s7KdT9QWF+RrSMPw9cOMqq2EEnzR8rxDE+JIv1Q9tvq1Bj+DqQIurWFtWjw8a9diXYiwaV79kd5Jt9bS1UjT7JytdC30XcTRdXIJpBHvh4nWNZbkBSwuosNiAQO++1P8JNlglbKAOzw/ADUDl1swy5F79Y18WpOl4K+HkEyrYqbOvjsQfA7edPXBYQY1SHMsLDMIsNH1Jb6RmxJOhvcHKVY2+dQyRobGyyiEAQEiBQNMFgtZLH+lnFurB8Mg+u1ccX4Wow4jMKqiywuuHw75HDdYgzvPoAwvm5ElbZjejWBw6qmSMKqjUpB2UvzzzaFj3kWPfeg3SvEsYXijyhApzKg0ZiMyqGO59Ek6Dtr41EsghhoBGvVqBEL6w4ftSE/wBZMdieZ0P1jQ3iEhUFE+THOODVz+vMdj7D4mlfhvSHGxwrGYZTYa9uDtHmSc4Jvuaml6RTsuVsNKB3K2HX7JRTQkk9iyg2tAHpG2RSDliHNU7TnxZu/wAaO9GQHwTMPok+vq1b7SaC8Twkbo7yYWfIgzHLJHm0DFiMsttANeeotRDgePMEHVx4WcRkABSY3axXfMZNrG2/KqTyqT0TxYXC2zPMd0yaKaUAC4kcD9420GvvFUjx/GYs5Ezvc+io09g0Hrp0k6KYRpDI+BxjMTc3KEE+Qko6nGfi8eTDYSeEC/oRKpJO/aDFh+zapwfFFpwUn0JWF+DDEsV+NOIQwvZiWblayKCSTfSwOxpuwfQfA4IB8QRf5pxb9UD3ZMMl5ZdzoctMnA+jryQJNLizhYpALpCqxTMdm6zENeQtcHRctFuCwYCHt4LD9dIwv1oBdz4tPJdveabm/AcV6C4Jp5xlw2FmkQ/Ol/McN59Wvy8o8Gvepx0Ox3/6tfAYJiB4Al7nzpkw3EpWmVZXiiNi3VBg0hA3J8PGwq+eNRfSpbkFJH5iGJQRsWFiWVNLD6TnvB1VavcIky/Khgch0Vri55bE21I1F/KuMD0KxGIBjV0RlVXCyAjPmGW4I30jve3zqo8a6PY3DIFeF0A+ctmjI3HaXQc97VSOTVs5J/D26R6+IE0+ZjlCaFtx3sbi3fvpRjAQ9diC4IaOHRe4udT5gDl4+JpR4XxYwoxCtmIsD9b8L/ZTX0cwyGJerY5h6TocpLHU5la4bf5wPqoKVjuHFBHifBocRpLGM22bZvUw+w9kd1KfFPg8kXtQMJF+iSA3qPot5nL5Uz8Z4lLh4iSqy8l0KsCdrrqCO8gjwFRDiEiwhyvbK3yqdL+Z/jUpyQ+KMvDOYuFSGURFGV76hgQR4kHYW1rc+gPRJciSuOwnZjXvI3Y+v33pa6NcDedhpeWTV25IvcPqj3mtgwuGWNFRRZVAA8hUV9TOrpHuSpEFdqtVuMcXiwkLTTNlRfWSeSqPnMe77qoKWndUUs5CqouSTYADcknQCkXHfCIuIYphnEcIIV8S2UGx0PVK+/6x8wG2rPum3TOfinZiNsONeoXR7jnIv/Et9W6juBoR0eQqc73sPRfQhGGotHvIdtARbe4q2PHb2QyzaWjZeG4xYYsrDqcNs2YZp8Q537Ju2u1zdzyAFjS/xb4PklvJCmW9rYVzq43DWGwAt2QdxuNqLYHBzwKkkgJQi/XuGeSzADLHHlvHew0Itto1FIcUQypGWUuNUBJxEh1v1jaiIXA57E6ptVGnEipJmN8d4G8UhKqXe+XtgDqu4LGQBYa6kAD6ItmoFHhcrdY5LPe4BJNzfe+7er94VvWO4CMXZp8gKgX6u3VRrcEiSY/pWO2Ud+t9DSn0o+DRms8O9uyNQjC5PZB9DU3tsb+N6RJMo5SoEdC+lq9cGkKBx6M04aYpytBh10zdx38TsdVw82QhiZEaQenL8rjJtCB1cC9mBRmPKwvqg1NYDLw50c+lHKp15Nfz5ef/AJp96BdNFUGGU9WTbMQwiz/2uJYmV/BUA9lGcGDHlXQ9T8LZSRGHjL2zdX8rjJdFJ62duxABmHM/VI2qDA4UAMqgIt7ukLEC/Pr8Y3aY94XXzo0ljFlQKFYaDJkTWxuIv0kp03awProVxjDkEEm9vRzAWXbRYh2VI7zrQgr0bI62ibD4aI2WyZCMvYUJEBroGY5pGJPpAeyhHE2/J75JLGJmBUsLrfYEi4v9FhfexqljulcMJJd7t4nM34J7vOuY+luF4xg58JLIsM0YzQuxvm5C3NjfssouSCCLnajXHsnF81odMLx+Jo1kdwFsLdYV08BEhygjbUk1QxC9YuMuSSBLv3ZEK6ctD7qQ+hnQbGjErLi+xFEQQhPacj0dN8t9dbXy+NaabBHB5owPrRR91Rkl4dGO62LOGF1U+A+yk74R8OzGAqCdJAbA/wBWRsKdMEziNBYegtwbgg2Fxa3fVhZn7h7f4VFaZZoTOgUJ+JSIwIJeQWIOzInf66JSOfiCsCVPUQsSpIPzCbEajS4phuzEXtbbfy8KVcXA78JyoVB+LWOYE6IpzDTnpoeRrBQWbgQB/S4j++f7zQXjEow0sK9ZiWLtlKkvIpVkkUa2tcPlO97C9MXDMM6wRq5BYIoJAsNAOVV+NrZYifmzxH2sE/1VqMAOj3GXMeGijwBxkxRC0kmZ0QZypsALD0bkkjXXWm7EcI4pOv5xiFw0Zzjq49DYkBBaM9oW+uD9gv8AwXyNHgTGQQVnmUXBGmYlT5Eaij2KUsrk6kN7gRaqxEasDcF4FHhbxxr825Y+kx1uSeev20PeMgnfemiYBZb960BmiOZvM/bVExaMPg6cPHO0clnw4YqMy5njXbMh3GozWvamDG/CM2HWIYaYYga5y6ta2lhdgDcCswSZibd+w3HlaiE0dktk0PZUg22sWOvIk/bUE/EUpdseIul/C8acuMwvUSH/AIsR08yy2PuavOK4+PhyBsLio8TGXy9UwUuOZ+UjIOmnpDmKzsYVSNHF+5tPY2xrh8E4Ga117x2h7RtR5MVxTNIwvTbC4tepkDQM9gT6S7i/aUXsR9WtAx3RGCaFBh3GgAUrZlPsOnt0rLPg/wCibTr1iLnc5rcgijQ6nmTpWzdGuADCprrI3pHu+qPAd/Opt8uxopR6LXAeDLhY8g1Y+k3efwHIUVU1yhrnEYyKLL1kiR5zlXOwW53sLnU0yM2WVsN6RfhO6OJjYld8UcOsNyubWMk7kgWa9tAQTpy1NHulvGRDF1aXkxEg+SiT0zqO1sQqDcs2mlqWcH0dkZ1m4iwxDixWFTaKM8rg9mQ+ZGvI08UTk/EZnHwCZE62WHPCAGSYXQE3y3LmxCaE2YAnS1i16O8E40olSSy4gxtrJaxTW9urIswuDqRfXTLudKxPS2NSUQCSS2qnsog2sQdWO+gvtyoJF8G3xomT/wCMScwdBk137MY0Hnp5mh/WwhkUO39vPyM/gsk8fPpff38Gi8C6TQ4pLqRfmD+HKo+MdHs93iNm3y3Ko5FrZslma1tr2rKpMLicFMy3XE5RmLQG8irewLLv3XLADXemXgXwgidcqy3NuWjjzU7+Y9tdLxV9UGc0cnJcZrZf4fxESNkcZZI9BdVJTtakQC8cFh85zm02NX+GqqyS3tdyhZuszl+yoGaQi/K2RBbTek7ifBHjUywG9rtbdL9+Q3Ct9a1TcNV8QpkM8qscoYWiIBCITYtGWtrzN6lOltD4+TdMa+kHQrD41e0MkoHZcCxHmO7wNYj056Hz4Jh1gtr2ZF2PkeXlTfxjjJw86wmXEEvlIIENu0cv9FRcYeTrJA2IlKqikC0RtfrL7x6+gN6EczS4+BlhTfL0zjon8KkuDBjkXrE7gcuveSBmb1k0Sm6Q8Q4oGEMTImmVh8nGuvbzOSBse/1U6wwTEBgZ7EAjXCDcXHzK5R7uUdsY2hBSIx57jqTo0SqVBEgu2YWAOorKewvEq0J+E+DeGIr8exJeQ6iGK9yBqbDKZH05pGR40/dHej8kYBweETCp/S4jsMR39WpMr+TSRDvWrvB0hiB+LRRRFgCSbPNm1zZghZm0tqWve9EcMrSy3ZWZQLsztZQeQWMaHX6WosaLlaBxpnrxOtw8nWNckuEVAT4KvIDTUk6b10sV/Kp5F19v31aiiBIHj/v/AApCoocKQmGP9VfsFWurqpwqE9Ump2t7LirfxU+NTHOWS1vOgmHwx+JshBHYnWx7s0gX2i3to5JAdNTvVHAKXVgxJtLOnqDvlHqWwomJOHnNFGe9EPtUGq3SOO2HLH5rxN7JYz91WeA64WD+yj/ygVD0pwSSYWXOoYojMtxsQL3HsrGCXwcT5/jYLFsmLNje/ZYXWx7rWtTRjH7Mo8QaS+gxEWIx0aAKvWRMoGgA6pbWHdpTNNMTcnnv76eKFZxO9yD4fdXJhBqCSbRf55V51pqgp+XuFwM0m1yov432G/ifdXHEZlLWBNl0G1jbc6HvvWmS/B1xHD4WTMnWuTZQwaSy7Hky2tfQkC58r55xHCNG4SeARMdytxp32BYeoAVHjRRuwaYDrazW1Nqk4fg3lkCRi7H1WHMk8hV/hIgXGJ1knyIk1cqSLfSy2v6rVt/COikEjjEIyvDIt1ZVKlxfncA2pWYt/Bxw3qMEqZTfMxLkavc3v5XJA8qZcRjI4lzSyJGve7BR7WIqtxLE9Th5JBlHVxswzXCDKpIvbYacq/M/FOJzY2ZpZWLu3M+io7hyVR3VkA2LpV8LGRur4cIpyp7bk3XTXKiggt+uDbuvvWY8W4jPjZ+uxZcufQQdkIvcAdI0HffxN96u8B6BzzxGWCMyFTY5SufYG6xscwH18p8Ad6sYhsXh1yzI6LYgwyxl1IHP5TtA8+QHKw2dIVs74Fx5oQXjlOc9ljlJQRqLgasGbc6tYDuo0nwipKQsrFVtoUuBzU52FmJy7iwGtKv5YwsoCzYQoBoHgkKkeJR7qx9Yr38h4WW3UY1AT8zEK0Lf3gzR+u4p5RUk1Imm4tSibLwvivDliV1JxMmiqoTM1zf0VGijQ9okW76JjgeNxIJllOGhOohR88pHc0/zARyXN58qwPE9HsZhu2EkAGueI9YvnnjJHrNWOj3wl8SgYRwSM9zohXP59nc0kcUMSqCHllyZnc3Z+kOF4WHCJlSIQruWGoJ72f0ifFqV+mPR/hmKe2VvjW4bCfpb8i2Xsnzb2ig3BOl0+Jt+UVZFIFo8O2UsdjmRLuR4CS/1a0bhvC4BGpgTqVIuAq5D+0pFifMGm62xdvSMyfgXFsKg7HxuEi1w6x4mPkC1syv36ZzRHo/nEbZl1L30BUHsR6gMAbXvyG2wpwx/E5IiQyxqNg7sFJ8owSWPkR5Us4GXNJiCzE3nbWxF+zHyOo8jSydoaPZ5iODxSuHeFWYWsSdRbUc++o5g2ebKBfqksCbD/wDItcgGioK959hqlYdZIb3uiC2txYzWPkbkfsmkoc74KG+LQ57Z+rTNba+UUNj6NxYjFtE5eONs+cxt1ZJK4VgpYbBiG89aL8LN4Yv7NP8AKKF4fiqw41nnURxgut3ZbNmjhHIm17DfvrJGY68O6JYXCxdXBCqKdTa5JPeSblj4mr0OGypb+fClLBcawXFHGFilnPUnrGCsyqVVhdH17Sn0bHW21OmJewp99CqnsHvDdlHeD91WOoCkef25r/bVET2cHuP4VZknvbzFYIucPj7OuvacekBs7Ab+AtU8kmlhoPMH7qh4thkGBlkYspR37SAFwOvu2UEgXIJHrr3gOFgkifKzOA11eT07FUOUnnYn325UAkDxkfOJ15+Xuqhw9spmNicuIkNhuboj6eJze+izwKOQ3H2ih+BUdbiARtOh/eghFYxS6GY1pcKuaJo8haPtW1ysV2B0Olj43teinE4c0Eo743HtU1Hwdo0jZbop6yW4uAb9Y419QHsFWMY4ZCqSohPM5W89Caxgb0e4gxxUqFrqIMO6DTTMDm8TcjnTBJJr6qSui6smJTO+cvgYjewG0klhYfRVgt+dr01yS1SIrInfsjzqYT1SMmnrr7rKcBgeC6e42C3U4qVAosFDsV/da4qt0l6Y4rHsjYqTrDGCF7KrYGxPogX2G9WJ+BkaNhJAf6uUW9jKx99VH4VGPSGIjPjEHH7wZfsqLb9GVeAkmiXDek2Kw9upxEsYHJXYD929vdXP5NjvpPH5MJEP+Qj311HwNibgo6/UljJPqJuPZSDHv5RnlLh5pSrnNIC5sTvdgTbfmanjnyABSFU65iCC2nzdAT+tpuNqJPwiCxv8chHLPAHQebIwv52pdxy/KMFcSAGwa1rj9U6jyogLSYxl1QOu92Vrk763t3Hvo5gvhDxqIY1xshQi2WYdYPVnD291KdiPmke0UT4RgHxBIDHsi5Bs+nm1lX9phRTBRZXiL7mOKa2pIADe2Ig+0V58VjmXN1ckI+mzKY/a2Uk+AJNGMH0dhjZDI6DMwHyWXEycj2QvydwCDZVY+NamOg0RVZMO0OY65sSsgmUW1tdiF1+aqp5im2DRnfQPoQJp0yTZzckZG6obXNwwzsLbgAc60HHdGo8IrkxShdc10OVydrdXnllOoF2sRvc0J4D0ZUrLJiXd8uJkS6GRcxUkahGLZb3NrnU63p7h4y4jCJcIAR2zlsBtqbNR6QrdsSIMBjcQD1MZgVgP0hGHBtztGWna/czjenropgp8MPl8U8ulhHkVI156HtMT4lvOhMvSGIWBxCM2vYiHWliNxm325aHSvuH9IcRthsFI5bTNiGKAHbUG7AeWl+6pyu9Dx62MHE+keChcyNKiy3CEpZ3vYkKct7DfewoJwvELMZpEBAeVm7Wh1VDe3LlprUEXwdYyV3bFYtGV9ciRKMuoNgx1A3Fh399VsfwaaHDTxYYP1iy2jIKqcoEYJu+hFgeevfRdUZJp7D5iPK3toabCeUn+ijOgvs2I7tTV6CIZFDatlAba+awzbeNV40HXubadXH/nnoBOeATh8NCwvYxpa4IPogbGok4VBicYIsRGJEY3sTYXEatqBv6I9ldcLxJWGNRBL2UUHKq2uB2rHNrreqsHCJZcYhBnjDyAks2UqqoxcLkN1BAyb/O50EE0HhnBIMMCIIY4gd8ihb+dt66xW1Wm2odjGooDKNhm9Y+6pwdPLX/Kaqs4UF3IVF1LE2AA8TUSyyTkZbxRd5Hykg8FPoKfpMLnkBvTAA03Sd8M8qg4MIGBDTYhoj2xnH/CK3Op0Y3tyrqfF44m5hw399L/ANip+JdH4pmKzqkqdkrG6KVVlDBmXndr+q1e/kSG1urFu67ctudAJQefF2u0MFhb0ZZGNri9lMIubbC4qrHFileRzFFaRoiQsjswyAKbKYhc2A5+2ix4FDyQe1v91eDgcP0B7W/3VjAaPhc5d3kw+EfNYgMbkHndvi9zf7q+xGCMal3wnDlUbsz5QOWpOHsKNDgUP0Pe/wDurmbo9h3HaiVgdw2Yg89ibVqCAuH44vMhCYYII3UNC5kNlKkANkVVTW+UX17rGjLSVx+RYcPGxiVIkQMxCgKp7J3vta176bUGHSIN+iR5fFFOX+8bKn+KmToFBbka8zDvFBWkxMh/4UQO1yZW/dSyj941yeFy/wD2H9UUVveK3I3EW2lW4/NoyLciEP8AhFT9UHGVF6gm3bZ3cDv7Ivc/jWk4HofGgICK2b6QBtbzGm9dN0Kim7PV9VzzKttuV7Wtr7q8+LzId8WI0XRCBwB8YiNuTFBc2+i0Yt7a4xfwfQNa4gIH0bf6JD9gp6PwXpynceoGoZPgzblPfwK/xqnzMy7QOMTN5uh2DRrR9lzqDHOyADvJcBffV0fB/nGmJnb9Z4MQvsc02Yz4PHsQSp9VK3A/gxkjxbKzF1RQ4IOTVi9hfXQW5WNKviJdSjQyhfTIYugTIbB4JMx9F8GUzAC/pQgg2N9bmpeiXAZoZpmiX4uyOiHq5nUSBhmW3W3BF+Wlaf0T6OLA0hyrc5RcFmNu0fTcljvzrs8OSbE4hHAZbRix8EBGu9+1vvXTCVqybRk/TLjzxymPFpJGyWYP1MMmYHZiyqlxpb0jqKA/+q4QPksS4NtpOuiX2RZh7RWzzM5do7MsYLLcydYDZrWKuDobbHu8q7l6G4Oa/WQwyED0mw8eu9rMgU6DTltWWwCLwrioh4bC0kzQ9ZiZ8zRiIknU6dcyaa8hfbSq7YvhjkdfPjZ9O0ZY5HivuOygIB5U6cH6KK2G+LzRCxnmYKy3GRnJUj0gLp3699FH+DPANvAm2nZQWAtaxC3FUYEjP8T8NeCw46rDYIyZbAGyQKQNiAAWtYcwKrcR+FriYaNUwsOH64KUzBmJD2tqzAcx837KfH+B/AHZZVHcJWtzGx050YxfQyB5FlYyGRLZGLk2sVb7VF/XShdmS8B6R8T4meqadozoSS/VXGpYqERWNgNrkaimeHo7MMmUx5Rl60yGTNIAkYujo53IbtMCb8rAEm+F9DUw8olg1N5Q2cm9iHWwIGvata/LnU4kCgBiFOUCx0Om+lZPWzegibgJ5QweuSb/AG1wOjrHeODuuJJb2uTY9nXc+2jolU7MDpyINSXrDAiPo8AusOH0Gnak237u81xwHgjxYyN3EOjNlMSZcgIIAJZiWve1xa+txReTFILgsoPcSBXvDsQrTLlZWsRexBt7KxhqkOlB8fiQhtYu5Fwg3t3sToi+J8hc6VcxGIZtI9F5uf8ASDufE6frbUKkULcDnqSTck95J1J8T5DSigMqLhy7h5SHYG6qP0cfdlU+k31217gtFk/n30ORtavx/wA++iAr4lO0fX9lcMmlUukBYtEqu0eaUKSuW9jHIbdoEbgcq4/JL/8A2p/+T/2qAS6E19tRAVR4HjAXmj60ylHFict8hVfoAD9IJF23U91EFH2/fWMfL/PvrwDT2UP6Q4nq4b9YYrvGucEAgGRQ1swI9HNy5VxFwgsAy4vEMCLghoSD5HqqJghiUujjvQ/Y1LkWvjcc9ftonBA8eIVDNJIrxSGz5DYq0QFsqLydqDwttSsZE2fSus1QE71IDRRgrgjbigAuAInJAJttGBcXt307xy1n3CsYPyhKzFFAjsDnB3a3O30aak4tH/SJ++v41DkkZRYWxkto2INiAao8NnZs92c9twNrWBAGtrA+FUuKceiELnrY75bi7r3jxpc6CceiTBxxtIgcAMwZrN2rWOo1/hTck1ZqY8S/rH/D+FCoP0836sf+r8aQ+JdN8U+PljwbxvGijQ2KC2XMbll7VzarHDek+KbEPGwiEhXMbLmBAAsLLIT869h3UuSDSU30aE024r3RpGHltm05X9n/AJobgpgmMxJchVLIAToCerhsLnc60uTdMmySKCvWLdWIUkAWBbTw5nYd2hqvxnEGSKFpNWkxWHOoA1yw622HfXNP4tQcFH+51/so8TW2HMdKVLNv2jz+saI8PlvEpsNV7/Og3E3ORjv2u/U9qp+H8SXq4lzBXdLqjHKxygF7KRc5bi/nXonOMMMhzgac+dWHbKCzPYAXJNgB66H4S5kF7c9jVnGYQTI0ciKyOpVlLGxB3GgoDItgeNe5T3/ZVYYwC4uoKkA3awBNrC5G/hU2Zu5f3j+FKEgRAG0+kT7SSffelLGNC+PljbI7hFOUqGKjPJrqNL3H82psDdr10vyr+eSn6if55qCMDxhCuKXKsSoYn0VLMTmi3YG1vV30SIqKVfl0/s5P80NfYPiMcpbq3D5GKtbkw3B8daYxTweCvJOXWNh1mnY7XoJuTe+lvYe/T3DNEuNSMZQ5RTky2uvWb7WPPSreBW7zf2g/6UNcydnFIQL9i/naWP8AGsAasSdKB4ga0QxE3ZFB5JNaKAz2Ia0Si5ULhOtEoTpRALPTnETIYDDGX+XjuQwBGuW1jqbhm15WuaOA1U6RH9Ge6aD3uF++rVAYG8PQCfE2AHajOgA3iT7waIAb/wA86o4XTE4j9WE+6Qf6autMo3IrGB3SFQcO9wDbKdddnQ/ZeiOW2g0Aqh0gH5rN/ZufYL/dRA0TC9xWaZeIYQxoXVllVruFUfoyTsdQtzb52Ud1DwbNbuJFMPENJsKf61h7YZvwpana0rjukYe80khokrHevr1HfVq8D0AmeRcJDOTGshVSpGgvrpbw7JOvfyq3DwKYvIVkYIASB1YZzYEgFQ411Gg/EU+8IwSZ37CgA8hRzC4RASbDU/cKg4Rb6LxzyiqRj8fCHw6yMVnmYoVA+L9lS2XXMXIa1iPR9lE8LBMFUCKQ6R62b6OuhAOla3iFtEbC+lRQQLYGzA0zxqn9yXzXezEoOjWLeRmML3Z3a7C41ZrUzdH+B4+CVXRCrfSGTQHIG7JIBOUMP5vTnjeLRxk6ki51GY68xoLA+FU8D0pVnIAOnO58ORronbhT6OePBZOS7AsnRXiIkHUsnVyAGVZMpGfTOBZScu9henfB9HGlhQYjKsqzCRChZlVlZSulxmFlAsatcPgZ489vaTVqIuGXs6BvPauLJgxuUJV07X+GdHOTTTYt4/iIt1edc9lcrzylgM3dvyorgEPVobLcKNTYHUC9tNPVWfycfmJYHCqGBCqxcKxUa2PZ0F+V6sf+sceFCLgRlWy5jKTcCwuLJ667btkTQuF4ljiACVPZY6X8KMDHjXsvp9U6+VZ58H3H8RLjCs8ccYEZIyFib3W4N/VTpwPCSRCQSTGUvIzqe0cqG1l1J2ty01oBLOLw8UsZWSPOrMrFSDqylWBIGuhUH1CphxEFsuV/PKbVF8dUNqwBPeQO78PdXQxy/THdvWMcdZ2h50Jt+dzfqJ/nmqzNjAGHM39nnVOCdji5AUYDqkOcgZCc0hIBvv2v53qUJKUmkM1SIsQh+MIcx/RyaaW3i8L8/cK7wuBEZYgk5jfXx+7SusSPl0/s5Pthqcmqgsq8OW0k51/SDn/VxH7/AGW7q5xjZZ1a9rRt7pIakwR7cv66/wDTiFU+KljMF6tihgku+mUEtH2SCb6geO/nWfWgBZ8RdLnxv7TQxMSGsykFTqCNQQdQQe6g/SXijQ4Cca36tlQ8wW7A8x2t9xzvvVXocGXAYYMLEJbv5m3utUoZLGcaGzDmiUG1BuHy3ozBVyYL6Tegp7pID/z46tVV6VaQk9xiPsljNW23oBAmCxLnGSgxst403IOitMFOn0rnTcW1oRxvgQkxkcxjz5VsNTowsQbbaW50fU2xreOHT3SS/wC6iR3/AJ7qyQ8ZOLtA3jpb4rNlXMTG4ttupHP2+qpeE4p5IlZ4zESPRLK2lhY3XTXuqfEJmRh3gj2qRUPCHzYeE98UZ/wLRFIOLmzYc92IT3pKv+qlLiU1sRMO6U+/Wm3jg7MR7p4D/wAxV++s/wCkExXG4of1kbe1E/GkyDwDGftnyqLrajWX5QeK/dVdpNaSwjJ0XlDGa6jRwB7PFR99NWFXuC+z+FZ7wbESASmzrd/nnuAFxdRpTRwjiyql5HN79/LTxqk1UmcsJ2th/icJaFlvlJFr+o99VcOAI1BNyFG/lQji/TKJU0NzfvHdQJumrPHaJVzDZTcXH1SDa/gazvjQeSsv4jhUKSPJrdjfc28tOVVOAOhD2tpKw0AG23L1UkcZ6ZTAN2VUjkxC+7Q1U6PdI5LODIt7l9FvvvuNam1J7GTSTP0LwEgwg3vcn7a6wTEGW4t2jbx1bWkDoN0neQKtz7LU5xuQJAOZJ18bny51XhfZuQj43DqDmubnKLbjS+1+f4UwYXDRlBo17Dw5DvqtiMKhWxvf6h1J15be8Vcw+AkGWwJAFrWC3211JPqrpkk1s542noiThKu5UAAFCDyJB0IuPOq2B4CgQCNTkTsABn0tbTcGu8TxIxMbix7ufv2oeOk5DG2i8h30qw30U+ZXZZPB4w12BBHi33mvfyPC2W65srZ1ub2YbEX511gulha+Zb+FGoVV9SgAPdp/CpyxOI8ciZBh1uRpVPEcYK4nKgR9BGR1qKwZS5ICk3Y2ddOV6KrgBurke8fdSZx/ojE0pfqhKys0mj5CGcksfMkEnzqCg09FHJF3jHGocPiIpsU/UXR1XMxIbVL2VbgWuNfKvm+EXh9v/lR/4vwpP4z0Kw+IaNXD4ewY3DFy1yosc97c9qEz/BbhwxCzS6G1yqkbE8vKnqgckP8AwHpLFiJp/iny5GVmbMygAgACzC26nUCrs3GwZ8rdWjIrIV61WbM5jKgqNVuEO+9Z9wn4PQplKfK2Krv1ZvYE6Abaj2UT4b8HYXFx9ojOwYgMSDkKtZtrjbv2oJM3JDbxWxjOgNxz1Hvpe4FxbIgUKoFz2F0G+6DYH6ugPKx0Lpxfo1IRZQD5Nb7aRsd0cmS4ysKnlxXtdjKVdjfwzEK1mQ5lP3Gxv5HQ93O1MeGOn8+NZXw7EyxPmBAfnmJCyW5Np2WtoJBqNiGG2h8A40k6m11dbB0bRkJ2DDuPJhdW5Ghiy2+MtP8AnQZR9XRS6fcQ6nByvlZrLsqk2IOYFreivZ1bler2DxvWxrIFZQ4DAMLEX11FRdLB+aT3/onPsW/3VOkdlAUWAAAGugGgroEKTj88Xxw7e6RP91X8/wB1L2M61cdETKgQpLoVscg6osuYnU3s19LBT30fQXI8QPvrBPU1t6qpdHz+aQeESD2KB91W0NwQCLi3jY8rig3RKGZcOBNKr7hQqZMoVmUi9zm1G+lEx90vx5iw+YLm+Vh0vY/pUbS+l9LC/MikLpZPmxk7ZWTNHC+VxZl7KaEXNiLVoPSSNWw0uYA5RnF+RXUGs9+EviXVcSNwLPCl9AdLuOflyNTy9Dw7Lkc3bi8Url5NT51SwnFYnyWIBXYXIJH6ramiLQITe7a6+j/GpKSKUwDPxJUUhJG7zZQtz33zMT7BXuHZXFy7E+Lfwq7iuFwRqcsbse92NvYgS3tNLZx2ViOyB5ffv769t4F3R898yXQ3wcOh6slpO0B5n7SBQDGM2Y5GGX6zX9y3qjFx8E5LljroBz5ab0NeafnaMd7sqe5jmPqFc+THR04m34GlRMSpSdu0NBIq2YeBJ9IeNqlTo+uGszA5W0Dk3U37ioAvSrK6Xu85Y90ak/4nK/YaO9Hem3UKYGiaXDOflI5GDEj6pygLrrty5b0kMey7ujR+jOHSJRJEA621yksw9WppnfpFEgAbRm2BIHupDkxhy9ZgH+RNs0QAV1J+ZlGrfzq1WcFho8UihgwXUlrqpjPIHMb28r11LBFK2Q+bK6Q4xcQCm5FjvYD7z+FccR6Y5LC6tfla/v0FCIsE5BUsSiiwksVv6zq3nUGE4Kj5mDBgOQP30jhG9lVJ1oN4fFx4n0gb21/hXX5BiZdAQO/+NQ8LnSK5IVeyNtTfnqeXqFVcV0qDEgX3HMX3GmvPXalad0jJ62X24R1Y7HdyGt/OoMfxlhoEY230NVYukThspve9rc791W4OIBz2gF5k3t7b6UGn6NrwHvxWYjUNl7l5+vlVjg+Id5SuXSwPMnc7++iUePgzWkZbcmsQP3hv9lVMbw+SbMI50Kj5sRuD5gan30v7AKnFWgWVWLXZb9lNTc2tdthax796hk4pGW1iUag2vck/yaoT4CVCQLADuHaHnmoVNhpEzHS+5Jt916KxoVzfg6wcQS7ErlzEHQg30HK3h31Y4bOHxkZUjKqte47QJy2ty/8AFJPCzKzWSzD5xHor45vDe1OvQoR9a2T5R9i52HeFH3mhKKitBjJyaseMQmlKnFF10NNmIGlKfFsRlJ76hAvkBGImSLWSzE7IdfWb7ChJxoLhkfJIuiuoHZG+Urs8Z5qfMWOtW8XDE7FnW5O5DH7K4XhKSWWJih7itx7R9tqjnwPIt/s12hsWRRLeM6TAw5cQsYLHI6iSy9WRZnVj6Q7l9LW24uVDgnTjhsxcSxywZbWzyTyZr3vYITa1hv31a4hwZgWXPG7KdVV1JuPqtY3oWmC6pSWiKA8ypF+7QikXOKqW2VuLeiPpZ05hwrxNw9UdisgdpEmNgclgOsI3sb2HIUG/96uId0P92f8AdV3iEEb5cwB3sR945V4OBQkXCKL/AFb0ryNeDcQSfhZxt2IWFS5uxWO2Y8ide166PdEel2FlWQ4+IdZmuvVwXBBuWuF55u/vqtwTo5DLiljdBlJIOlr9liOemoG1TYzBLh55Y1ijZQ9hcG9rAjtKQedUhclaQkvp7LvF+muAjkjEWBWRWPaZ4+rK6gaDKc2hJ5bUM6d4xMZMkqSRkqhQqMy3AkkKWzgXOQi4vveucY8JALRMtuatcexlJ99UuJwQ9gq7C4v2kH2qx+yjOE6NGcbAqxkC23hy9m1Sh27z/PrqycLcDLJG37Vj7GtXvxGTuHtX8alw+w/IcOMQRj05ifCJGa//APSZlHsQ0icTxCBzlU25B2zfYFX3VHLxiRn1YnXnrXHEptBprbewr6RyUou/DxoY3GatER45IBYEKNNEsg7tQtgfXVEKGJJaw9/sol0e4A2KZlUqCANWJ01HIDX2irE8WFgbKyyzyDe5ESf4SzH2ivPlbO7S6BdktZQzMe/8BRLDdH5dGlyQKdbzNkuPBfSPqFeP0gkGkQSBe6Jcp9bm7n21Ti1a51JOpOt/bRh2JJ0h16O4/D4WQPHJNNKOUYEMRHczPmZ18MorReG4iOdRJaOGQnUKBqe4yFSdfGsiwjqo9G9OHB2Z4rLZAea3v7TXpPCnG29nnrM1Kq0WuL4qaHEkSAjMey4JZfAFu7voxBwq0XWJZZCO2Va6H1t6VXOEY8yZcO4z2HpvZ28N9PdTT+QkWE5mbJubWzeNuQrjyZOLqR1Y4WrRng4VNJfZcoB1vlPr3BqSFCWDzSrHuq6G/cdPI6Wub+VHeK4781LQxRxqFaxN5HOUqo1IspsSb2NrDzpLxOJfsqLHMobMQLkbkEWtztpYeFJGXNjtKIYaGNW+SZmAFsx0bkTYb8+dqikmFrg37ybFTyFhbfxqDh2EMpyaKbHbY28LaUSgwllcsTZOybWNzpYAEWt4+6n6F7KEnEmCkING0zG178/5FDmnljPyburHmL3NtdR3fjRyyqRmQEG/okgj1m96ji4YM4FgSxyrckWJNgb2O3l7aZNIVplPBdMJlsuICSr9ZbE38RoO7QUV4lFhigaTrIA+hQspNjva9yB5n2VaxuCjwJRQolxDAlXcdiPvKr36fx5Ui8XjeWRi8hY8ydPHS3LwqMmpO0PFuCaew5xrDs8XVQELCAMojN7jvYGxa/spt+C7D2U6fz5VkOAndZFAdhqdibHuuNjW19DOLhcOHdb6gdka6kAc6nO+AcdOdjtJsaSuPvbNTte4pF6ZCxNc+Ls6cvQjYziBzVe4nxz4hhht8Ym0QfRHNj5X9pHca84DgFZmnfUR6geIBN/551nHHONNiZ2lbS/oj6K7qPx8Sa6JM5Y62Sz4pjcn131ueZqfBdIZY1ASV18Axy/unT3ULGI0N6iVwRppU3bGTSDUnSc3BeKKTvOXqyd+aW+yrUHH8G2/XQnwIkX32NKsj7V4jAMGIvblU3BPsqpvw0TgmHQYiJ0xCNZrhSrKzAgiw5X176o9KZcmMkP0greqwU+9aH8IxN8RCRfV095FHOkckQmHWQh7oO1mZWFi2lxy9VNGHHoLlyWxcxON7B22oRicQpVTtTTHwWCckRtLGTyYK6+0EGgnHOjUkEYLMjDwuD7LffTSToVfqBjJXPXCoSCa96pvD2/wqLRRH//Z"/>
          <p:cNvSpPr>
            <a:spLocks noChangeAspect="1" noChangeArrowheads="1"/>
          </p:cNvSpPr>
          <p:nvPr/>
        </p:nvSpPr>
        <p:spPr bwMode="auto">
          <a:xfrm>
            <a:off x="1644650" y="-1017588"/>
            <a:ext cx="2533650" cy="1809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latinLnBrk="0"/>
            <a:endParaRPr lang="en-US" sz="2400">
              <a:solidFill>
                <a:srgbClr val="292929"/>
              </a:solidFill>
              <a:latin typeface="Segoe UI"/>
            </a:endParaRPr>
          </a:p>
        </p:txBody>
      </p:sp>
      <p:sp>
        <p:nvSpPr>
          <p:cNvPr id="7" name="AutoShape 6" descr="data:image/jpg;base64,/9j/4AAQSkZJRgABAQAAAQABAAD/2wCEAAkGBhQSERUUExQWFRUWGBoYGBgYGBkYGhkaHBwWFxcdHhgaHSYgGB0lGhgZHy8gJicpLCwsFx8xNTAqNSYrLCkBCQoKDgwOGg8PGiwkHyQsLCwpLCwpLC0sLCwsLCwsLCkpLCwsLCwpLCwsLCwsLCwsLCwsLCwsLCwsLCwsLCwsLP/AABEIAL4BCgMBIgACEQEDEQH/xAAcAAACAwEBAQEAAAAAAAAAAAAFBgMEBwIBAAj/xABNEAACAQIEAgYECQgIBQQDAAABAgMAEQQSITEFQQYTIlFhcTKBkaEHFCNCUmKxwdEVJDNygpLh8FNjc5OissLSQ6Oz0/EWFzRURGWD/8QAGgEAAwEBAQEAAAAAAAAAAAAAAQIDAAQFBv/EACkRAAICAgMAAAUDBQAAAAAAAAABAhEDIRIxQQQTImFxUYHwFEKRsdH/2gAMAwEAAhEDEQA/AMRsD4ef40XxHYw1uZVF/eJmb3CIUHhjzMBtcgUW4xjfQWwIIMhU62zkZR4WiWPasYDVNhYszgHQcz3Dcn2V6yKR2TY/RP3N+NvXVvhuHtcsN9LfVFi3tOVf2jWY0avYYSXq4nZkLLcEWBDC40GbeMKm4HMb60tu4Ddi9j37+I0386Icaxp6wKrH5O4uNLufTPt0/ZoTTN+E0rbk/QlhJL78vef4X9rVJPiVkNn5DRxv4XHzh7wLa8qHJNYWFcl61g47L85uAJe0NklXU2HL6wHcbMPDaqsODZ3CJZiTpbbz8BX2HZvRW5zaZd7nlp3+NPHAejxiAUDNM9gba/sjw+2pylRRKwn0L6NqZI4htfNI3Mhd/LkB51rQiAACiwGgA5UJ6NdHFwyXOsrDtHu52H486NUsV+pmyG1eZanyVwUpxTgCvq7tUbSW8axjosALnas06a9KpMU4wmBYm9+tZdAR3Z/mr3nn40X6XxST9jrxDEp+Wa/ZC8l8WJ5a+VLmDzSq0HDk6nDr+mxT6FhzOY7e38KpGNojOdOhaikhwpC4VRicUTbrLXSM/wBWh9M/XOgtsa5wcatNnmz43EsbiMEut/rP8+3h2Rbc7Vd4zwNYEzxmT4swytKIyGmb5wUnaO9rE2XwY6UL4bxFwwjhHVBtAF7RJ5ZiR8p5EZQdgKZKpGbuJoQUdWr8SnVY7djCQnRvA5TeTyWy/WO1GjxB3TJJInC8IqX6sFFxTx3+iNIFJ8L+HOljo98nN+aQnF4sgZ8RMbLE/MFjdRpyU30sSeTJwzgcUk5d0HFcbcZioC4WEgWVXkN1IX6IDH6vOjIESXhOIllRo+FQLhcJa74ue65rXu4JOeQ63zE201NtKk4F0cWKRxg4TiMQpIkx2LBEaEE5hGh1cg3HZAGmrUZlw6yyZMQTxCdLWwsIy4SE8s9zluO+Qs3cld8cKlkGLZ52JCDBYY2izm1hJIctx2k0kZRropvakKguCBDMWhDcSxYNjiJCBBCe5WHYS30Ywzd5qljIVeW0hbiWKU/oYwFw0J+tfsDzcknkBR7HQM9oZ2ygDs4DA75eQllGUhf7tPE1HNgiiiFrYdPm4PB6yEf1koAy355co+uaZE5CzjIi06DEymaVWUrhcKD1ceo1kbQmw5sQNNjS7h+HBZtQwtKfQuT6RFgRy+69NfGcQuHQx9nDJv1GHs0zeLyfNvzP+KqcOAujsoK9pyLHUdo217/xroSq/wAEb5V9mFcA3UJZeqwMZPK0k7/aL/vmi+AlC9uKMKeeJxRLP6lJuPIlB4Un8MNnZgApzEGSQ5mOp2uftv5U04GRbhrZmHzpNbeS8vdRcVQim2wxFh+t7RD4kjUNL8nCp7wlrHzCn9ap+GKTn6xhISb2i7KakgAkG7aKNydhQDiXTnCxD5WTrCPmjUewdmkfjHwuS3kaA2RzlA7JyZFXY+Oa/q0pODKKS8NdxvFUhTtOkKdy2Hv5+oUuN08wQNs9/GxrIoIuIcQbsK7Zj6Rvr+0d/wBkXot/7Q43nMgPMGQ3B53ub06hFd/8M5Sf8sUsR0SV9YJNT8x9DqbaNz9nroT0gwzpO4ZSouQtx81eytjseyBtTZwrHZWv3KxIKg8uzuPpldd6vrPnARgJAbDKwv4c6SWKMnrRDH8ROCXPZmYF6Y8PKYYy1gwQDLzBOoBHd2sxN7aKKK9K+GQZlSNArjKgKiwNhqTbQkD16amhnGuHzIkRS+RtgpOYltALfO7NhpffXeoODizujmU40vR06LcAwk+AVGWObUszLpIjNa923BFrcgQBpS9x/wCC6WO74YmZBrlNhIPVs/qsfCk/C4ySF8yM0brzBKkeH8Ka4vhRxHUNGyqzsMvWDskA6E2Gma17EWseVLoamuhMZbaGvKsTxpbMjHxVvSHkRow8dD4Ub6K8GDnrXF1U9kd5HPyH2+VI3Q6CPRbgRjyyOLyN6C81B8PpH+d62Pot0Y6heskF5mH7gPLz76q9Dei+S08w7ZHYU/NHefrfZ9jflpUr2wt+EJSvClqsdXXYiqgpTNem1Aem/HXw8doBeQEFjlzrGuoBkUEHXkNL235HFsbJjsVKRiMQxRQHZnktEFJ0IUWGtiAAL30tW4urF5K6NY4z8IeGgnSAFpXZgG6sZsl++3pH6o1t7Kk4zx5I1u7MitoqqLzzHYBFH6NSdLnXyrIhikiQjC/JR7PinHysnesaj0R4LrtmK0Q6OcQEJBGTDqbHr5rvMQDcFEG2uo2H62t2jFCybSHTiPAmmMZxYKRX/NsFCp6yQmxOc7A23JNhzNqJ4iJI+rjxKCSTeHh+HF0XuZvp25u/ZFtjvU/CsUqQmVCYIW7UuLxJ+XmOoHVofR30LWUckN6qycPkALITg8NLYGaRS2MxDWJORD8o+bSwI01sttaf7CVZQ43KHITGEyu36PA4a5C20Gdh6RHfootzFJeP4HLAxiZFRsoJQMGJB1s7KdT9QWF+RrSMPw9cOMqq2EEnzR8rxDE+JIv1Q9tvq1Bj+DqQIurWFtWjw8a9diXYiwaV79kd5Jt9bS1UjT7JytdC30XcTRdXIJpBHvh4nWNZbkBSwuosNiAQO++1P8JNlglbKAOzw/ADUDl1swy5F79Y18WpOl4K+HkEyrYqbOvjsQfA7edPXBYQY1SHMsLDMIsNH1Jb6RmxJOhvcHKVY2+dQyRobGyyiEAQEiBQNMFgtZLH+lnFurB8Mg+u1ccX4Wow4jMKqiywuuHw75HDdYgzvPoAwvm5ElbZjejWBw6qmSMKqjUpB2UvzzzaFj3kWPfeg3SvEsYXijyhApzKg0ZiMyqGO59Ek6Dtr41EsghhoBGvVqBEL6w4ftSE/wBZMdieZ0P1jQ3iEhUFE+THOODVz+vMdj7D4mlfhvSHGxwrGYZTYa9uDtHmSc4Jvuaml6RTsuVsNKB3K2HX7JRTQkk9iyg2tAHpG2RSDliHNU7TnxZu/wAaO9GQHwTMPok+vq1b7SaC8Twkbo7yYWfIgzHLJHm0DFiMsttANeeotRDgePMEHVx4WcRkABSY3axXfMZNrG2/KqTyqT0TxYXC2zPMd0yaKaUAC4kcD9420GvvFUjx/GYs5Ezvc+io09g0Hrp0k6KYRpDI+BxjMTc3KEE+Qko6nGfi8eTDYSeEC/oRKpJO/aDFh+zapwfFFpwUn0JWF+DDEsV+NOIQwvZiWblayKCSTfSwOxpuwfQfA4IB8QRf5pxb9UD3ZMMl5ZdzoctMnA+jryQJNLizhYpALpCqxTMdm6zENeQtcHRctFuCwYCHt4LD9dIwv1oBdz4tPJdveabm/AcV6C4Jp5xlw2FmkQ/Ol/McN59Wvy8o8Gvepx0Ox3/6tfAYJiB4Al7nzpkw3EpWmVZXiiNi3VBg0hA3J8PGwq+eNRfSpbkFJH5iGJQRsWFiWVNLD6TnvB1VavcIky/Khgch0Vri55bE21I1F/KuMD0KxGIBjV0RlVXCyAjPmGW4I30jve3zqo8a6PY3DIFeF0A+ctmjI3HaXQc97VSOTVs5J/D26R6+IE0+ZjlCaFtx3sbi3fvpRjAQ9diC4IaOHRe4udT5gDl4+JpR4XxYwoxCtmIsD9b8L/ZTX0cwyGJerY5h6TocpLHU5la4bf5wPqoKVjuHFBHifBocRpLGM22bZvUw+w9kd1KfFPg8kXtQMJF+iSA3qPot5nL5Uz8Z4lLh4iSqy8l0KsCdrrqCO8gjwFRDiEiwhyvbK3yqdL+Z/jUpyQ+KMvDOYuFSGURFGV76hgQR4kHYW1rc+gPRJciSuOwnZjXvI3Y+v33pa6NcDedhpeWTV25IvcPqj3mtgwuGWNFRRZVAA8hUV9TOrpHuSpEFdqtVuMcXiwkLTTNlRfWSeSqPnMe77qoKWndUUs5CqouSTYADcknQCkXHfCIuIYphnEcIIV8S2UGx0PVK+/6x8wG2rPum3TOfinZiNsONeoXR7jnIv/Et9W6juBoR0eQqc73sPRfQhGGotHvIdtARbe4q2PHb2QyzaWjZeG4xYYsrDqcNs2YZp8Q537Ju2u1zdzyAFjS/xb4PklvJCmW9rYVzq43DWGwAt2QdxuNqLYHBzwKkkgJQi/XuGeSzADLHHlvHew0Itto1FIcUQypGWUuNUBJxEh1v1jaiIXA57E6ptVGnEipJmN8d4G8UhKqXe+XtgDqu4LGQBYa6kAD6ItmoFHhcrdY5LPe4BJNzfe+7er94VvWO4CMXZp8gKgX6u3VRrcEiSY/pWO2Ud+t9DSn0o+DRms8O9uyNQjC5PZB9DU3tsb+N6RJMo5SoEdC+lq9cGkKBx6M04aYpytBh10zdx38TsdVw82QhiZEaQenL8rjJtCB1cC9mBRmPKwvqg1NYDLw50c+lHKp15Nfz5ef/AJp96BdNFUGGU9WTbMQwiz/2uJYmV/BUA9lGcGDHlXQ9T8LZSRGHjL2zdX8rjJdFJ62duxABmHM/VI2qDA4UAMqgIt7ukLEC/Pr8Y3aY94XXzo0ljFlQKFYaDJkTWxuIv0kp03awProVxjDkEEm9vRzAWXbRYh2VI7zrQgr0bI62ibD4aI2WyZCMvYUJEBroGY5pGJPpAeyhHE2/J75JLGJmBUsLrfYEi4v9FhfexqljulcMJJd7t4nM34J7vOuY+luF4xg58JLIsM0YzQuxvm5C3NjfssouSCCLnajXHsnF81odMLx+Jo1kdwFsLdYV08BEhygjbUk1QxC9YuMuSSBLv3ZEK6ctD7qQ+hnQbGjErLi+xFEQQhPacj0dN8t9dbXy+NaabBHB5owPrRR91Rkl4dGO62LOGF1U+A+yk74R8OzGAqCdJAbA/wBWRsKdMEziNBYegtwbgg2Fxa3fVhZn7h7f4VFaZZoTOgUJ+JSIwIJeQWIOzInf66JSOfiCsCVPUQsSpIPzCbEajS4phuzEXtbbfy8KVcXA78JyoVB+LWOYE6IpzDTnpoeRrBQWbgQB/S4j++f7zQXjEow0sK9ZiWLtlKkvIpVkkUa2tcPlO97C9MXDMM6wRq5BYIoJAsNAOVV+NrZYifmzxH2sE/1VqMAOj3GXMeGijwBxkxRC0kmZ0QZypsALD0bkkjXXWm7EcI4pOv5xiFw0Zzjq49DYkBBaM9oW+uD9gv8AwXyNHgTGQQVnmUXBGmYlT5Eaij2KUsrk6kN7gRaqxEasDcF4FHhbxxr825Y+kx1uSeev20PeMgnfemiYBZb960BmiOZvM/bVExaMPg6cPHO0clnw4YqMy5njXbMh3GozWvamDG/CM2HWIYaYYga5y6ta2lhdgDcCswSZibd+w3HlaiE0dktk0PZUg22sWOvIk/bUE/EUpdseIul/C8acuMwvUSH/AIsR08yy2PuavOK4+PhyBsLio8TGXy9UwUuOZ+UjIOmnpDmKzsYVSNHF+5tPY2xrh8E4Ga117x2h7RtR5MVxTNIwvTbC4tepkDQM9gT6S7i/aUXsR9WtAx3RGCaFBh3GgAUrZlPsOnt0rLPg/wCibTr1iLnc5rcgijQ6nmTpWzdGuADCprrI3pHu+qPAd/Opt8uxopR6LXAeDLhY8g1Y+k3efwHIUVU1yhrnEYyKLL1kiR5zlXOwW53sLnU0yM2WVsN6RfhO6OJjYld8UcOsNyubWMk7kgWa9tAQTpy1NHulvGRDF1aXkxEg+SiT0zqO1sQqDcs2mlqWcH0dkZ1m4iwxDixWFTaKM8rg9mQ+ZGvI08UTk/EZnHwCZE62WHPCAGSYXQE3y3LmxCaE2YAnS1i16O8E40olSSy4gxtrJaxTW9urIswuDqRfXTLudKxPS2NSUQCSS2qnsog2sQdWO+gvtyoJF8G3xomT/wCMScwdBk137MY0Hnp5mh/WwhkUO39vPyM/gsk8fPpff38Gi8C6TQ4pLqRfmD+HKo+MdHs93iNm3y3Ko5FrZslma1tr2rKpMLicFMy3XE5RmLQG8irewLLv3XLADXemXgXwgidcqy3NuWjjzU7+Y9tdLxV9UGc0cnJcZrZf4fxESNkcZZI9BdVJTtakQC8cFh85zm02NX+GqqyS3tdyhZuszl+yoGaQi/K2RBbTek7ifBHjUywG9rtbdL9+Q3Ct9a1TcNV8QpkM8qscoYWiIBCITYtGWtrzN6lOltD4+TdMa+kHQrD41e0MkoHZcCxHmO7wNYj056Hz4Jh1gtr2ZF2PkeXlTfxjjJw86wmXEEvlIIENu0cv9FRcYeTrJA2IlKqikC0RtfrL7x6+gN6EczS4+BlhTfL0zjon8KkuDBjkXrE7gcuveSBmb1k0Sm6Q8Q4oGEMTImmVh8nGuvbzOSBse/1U6wwTEBgZ7EAjXCDcXHzK5R7uUdsY2hBSIx57jqTo0SqVBEgu2YWAOorKewvEq0J+E+DeGIr8exJeQ6iGK9yBqbDKZH05pGR40/dHej8kYBweETCp/S4jsMR39WpMr+TSRDvWrvB0hiB+LRRRFgCSbPNm1zZghZm0tqWve9EcMrSy3ZWZQLsztZQeQWMaHX6WosaLlaBxpnrxOtw8nWNckuEVAT4KvIDTUk6b10sV/Kp5F19v31aiiBIHj/v/AApCoocKQmGP9VfsFWurqpwqE9Ump2t7LirfxU+NTHOWS1vOgmHwx+JshBHYnWx7s0gX2i3to5JAdNTvVHAKXVgxJtLOnqDvlHqWwomJOHnNFGe9EPtUGq3SOO2HLH5rxN7JYz91WeA64WD+yj/ygVD0pwSSYWXOoYojMtxsQL3HsrGCXwcT5/jYLFsmLNje/ZYXWx7rWtTRjH7Mo8QaS+gxEWIx0aAKvWRMoGgA6pbWHdpTNNMTcnnv76eKFZxO9yD4fdXJhBqCSbRf55V51pqgp+XuFwM0m1yov432G/ifdXHEZlLWBNl0G1jbc6HvvWmS/B1xHD4WTMnWuTZQwaSy7Hky2tfQkC58r55xHCNG4SeARMdytxp32BYeoAVHjRRuwaYDrazW1Nqk4fg3lkCRi7H1WHMk8hV/hIgXGJ1knyIk1cqSLfSy2v6rVt/COikEjjEIyvDIt1ZVKlxfncA2pWYt/Bxw3qMEqZTfMxLkavc3v5XJA8qZcRjI4lzSyJGve7BR7WIqtxLE9Th5JBlHVxswzXCDKpIvbYacq/M/FOJzY2ZpZWLu3M+io7hyVR3VkA2LpV8LGRur4cIpyp7bk3XTXKiggt+uDbuvvWY8W4jPjZ+uxZcufQQdkIvcAdI0HffxN96u8B6BzzxGWCMyFTY5SufYG6xscwH18p8Ad6sYhsXh1yzI6LYgwyxl1IHP5TtA8+QHKw2dIVs74Fx5oQXjlOc9ljlJQRqLgasGbc6tYDuo0nwipKQsrFVtoUuBzU52FmJy7iwGtKv5YwsoCzYQoBoHgkKkeJR7qx9Yr38h4WW3UY1AT8zEK0Lf3gzR+u4p5RUk1Imm4tSibLwvivDliV1JxMmiqoTM1zf0VGijQ9okW76JjgeNxIJllOGhOohR88pHc0/zARyXN58qwPE9HsZhu2EkAGueI9YvnnjJHrNWOj3wl8SgYRwSM9zohXP59nc0kcUMSqCHllyZnc3Z+kOF4WHCJlSIQruWGoJ72f0ifFqV+mPR/hmKe2VvjW4bCfpb8i2Xsnzb2ig3BOl0+Jt+UVZFIFo8O2UsdjmRLuR4CS/1a0bhvC4BGpgTqVIuAq5D+0pFifMGm62xdvSMyfgXFsKg7HxuEi1w6x4mPkC1syv36ZzRHo/nEbZl1L30BUHsR6gMAbXvyG2wpwx/E5IiQyxqNg7sFJ8owSWPkR5Us4GXNJiCzE3nbWxF+zHyOo8jSydoaPZ5iODxSuHeFWYWsSdRbUc++o5g2ebKBfqksCbD/wDItcgGioK959hqlYdZIb3uiC2txYzWPkbkfsmkoc74KG+LQ57Z+rTNba+UUNj6NxYjFtE5eONs+cxt1ZJK4VgpYbBiG89aL8LN4Yv7NP8AKKF4fiqw41nnURxgut3ZbNmjhHIm17DfvrJGY68O6JYXCxdXBCqKdTa5JPeSblj4mr0OGypb+fClLBcawXFHGFilnPUnrGCsyqVVhdH17Sn0bHW21OmJewp99CqnsHvDdlHeD91WOoCkef25r/bVET2cHuP4VZknvbzFYIucPj7OuvacekBs7Ab+AtU8kmlhoPMH7qh4thkGBlkYspR37SAFwOvu2UEgXIJHrr3gOFgkifKzOA11eT07FUOUnnYn325UAkDxkfOJ15+Xuqhw9spmNicuIkNhuboj6eJze+izwKOQ3H2ih+BUdbiARtOh/eghFYxS6GY1pcKuaJo8haPtW1ysV2B0Olj43teinE4c0Eo743HtU1Hwdo0jZbop6yW4uAb9Y419QHsFWMY4ZCqSohPM5W89Caxgb0e4gxxUqFrqIMO6DTTMDm8TcjnTBJJr6qSui6smJTO+cvgYjewG0klhYfRVgt+dr01yS1SIrInfsjzqYT1SMmnrr7rKcBgeC6e42C3U4qVAosFDsV/da4qt0l6Y4rHsjYqTrDGCF7KrYGxPogX2G9WJ+BkaNhJAf6uUW9jKx99VH4VGPSGIjPjEHH7wZfsqLb9GVeAkmiXDek2Kw9upxEsYHJXYD929vdXP5NjvpPH5MJEP+Qj311HwNibgo6/UljJPqJuPZSDHv5RnlLh5pSrnNIC5sTvdgTbfmanjnyABSFU65iCC2nzdAT+tpuNqJPwiCxv8chHLPAHQebIwv52pdxy/KMFcSAGwa1rj9U6jyogLSYxl1QOu92Vrk763t3Hvo5gvhDxqIY1xshQi2WYdYPVnD291KdiPmke0UT4RgHxBIDHsi5Bs+nm1lX9phRTBRZXiL7mOKa2pIADe2Ig+0V58VjmXN1ckI+mzKY/a2Uk+AJNGMH0dhjZDI6DMwHyWXEycj2QvydwCDZVY+NamOg0RVZMO0OY65sSsgmUW1tdiF1+aqp5im2DRnfQPoQJp0yTZzckZG6obXNwwzsLbgAc60HHdGo8IrkxShdc10OVydrdXnllOoF2sRvc0J4D0ZUrLJiXd8uJkS6GRcxUkahGLZb3NrnU63p7h4y4jCJcIAR2zlsBtqbNR6QrdsSIMBjcQD1MZgVgP0hGHBtztGWna/czjenropgp8MPl8U8ulhHkVI156HtMT4lvOhMvSGIWBxCM2vYiHWliNxm325aHSvuH9IcRthsFI5bTNiGKAHbUG7AeWl+6pyu9Dx62MHE+keChcyNKiy3CEpZ3vYkKct7DfewoJwvELMZpEBAeVm7Wh1VDe3LlprUEXwdYyV3bFYtGV9ciRKMuoNgx1A3Fh399VsfwaaHDTxYYP1iy2jIKqcoEYJu+hFgeevfRdUZJp7D5iPK3toabCeUn+ijOgvs2I7tTV6CIZFDatlAba+awzbeNV40HXubadXH/nnoBOeATh8NCwvYxpa4IPogbGok4VBicYIsRGJEY3sTYXEatqBv6I9ldcLxJWGNRBL2UUHKq2uB2rHNrreqsHCJZcYhBnjDyAks2UqqoxcLkN1BAyb/O50EE0HhnBIMMCIIY4gd8ihb+dt66xW1Wm2odjGooDKNhm9Y+6pwdPLX/Kaqs4UF3IVF1LE2AA8TUSyyTkZbxRd5Hykg8FPoKfpMLnkBvTAA03Sd8M8qg4MIGBDTYhoj2xnH/CK3Op0Y3tyrqfF44m5hw399L/ANip+JdH4pmKzqkqdkrG6KVVlDBmXndr+q1e/kSG1urFu67ctudAJQefF2u0MFhb0ZZGNri9lMIubbC4qrHFileRzFFaRoiQsjswyAKbKYhc2A5+2ix4FDyQe1v91eDgcP0B7W/3VjAaPhc5d3kw+EfNYgMbkHndvi9zf7q+xGCMal3wnDlUbsz5QOWpOHsKNDgUP0Pe/wDurmbo9h3HaiVgdw2Yg89ibVqCAuH44vMhCYYII3UNC5kNlKkANkVVTW+UX17rGjLSVx+RYcPGxiVIkQMxCgKp7J3vta176bUGHSIN+iR5fFFOX+8bKn+KmToFBbka8zDvFBWkxMh/4UQO1yZW/dSyj941yeFy/wD2H9UUVveK3I3EW2lW4/NoyLciEP8AhFT9UHGVF6gm3bZ3cDv7Ivc/jWk4HofGgICK2b6QBtbzGm9dN0Kim7PV9VzzKttuV7Wtr7q8+LzId8WI0XRCBwB8YiNuTFBc2+i0Yt7a4xfwfQNa4gIH0bf6JD9gp6PwXpynceoGoZPgzblPfwK/xqnzMy7QOMTN5uh2DRrR9lzqDHOyADvJcBffV0fB/nGmJnb9Z4MQvsc02Yz4PHsQSp9VK3A/gxkjxbKzF1RQ4IOTVi9hfXQW5WNKviJdSjQyhfTIYugTIbB4JMx9F8GUzAC/pQgg2N9bmpeiXAZoZpmiX4uyOiHq5nUSBhmW3W3BF+Wlaf0T6OLA0hyrc5RcFmNu0fTcljvzrs8OSbE4hHAZbRix8EBGu9+1vvXTCVqybRk/TLjzxymPFpJGyWYP1MMmYHZiyqlxpb0jqKA/+q4QPksS4NtpOuiX2RZh7RWzzM5do7MsYLLcydYDZrWKuDobbHu8q7l6G4Oa/WQwyED0mw8eu9rMgU6DTltWWwCLwrioh4bC0kzQ9ZiZ8zRiIknU6dcyaa8hfbSq7YvhjkdfPjZ9O0ZY5HivuOygIB5U6cH6KK2G+LzRCxnmYKy3GRnJUj0gLp3699FH+DPANvAm2nZQWAtaxC3FUYEjP8T8NeCw46rDYIyZbAGyQKQNiAAWtYcwKrcR+FriYaNUwsOH64KUzBmJD2tqzAcx837KfH+B/AHZZVHcJWtzGx050YxfQyB5FlYyGRLZGLk2sVb7VF/XShdmS8B6R8T4meqadozoSS/VXGpYqERWNgNrkaimeHo7MMmUx5Rl60yGTNIAkYujo53IbtMCb8rAEm+F9DUw8olg1N5Q2cm9iHWwIGvata/LnU4kCgBiFOUCx0Om+lZPWzegibgJ5QweuSb/AG1wOjrHeODuuJJb2uTY9nXc+2jolU7MDpyINSXrDAiPo8AusOH0Gnak237u81xwHgjxYyN3EOjNlMSZcgIIAJZiWve1xa+txReTFILgsoPcSBXvDsQrTLlZWsRexBt7KxhqkOlB8fiQhtYu5Fwg3t3sToi+J8hc6VcxGIZtI9F5uf8ASDufE6frbUKkULcDnqSTck95J1J8T5DSigMqLhy7h5SHYG6qP0cfdlU+k31217gtFk/n30ORtavx/wA++iAr4lO0fX9lcMmlUukBYtEqu0eaUKSuW9jHIbdoEbgcq4/JL/8A2p/+T/2qAS6E19tRAVR4HjAXmj60ylHFict8hVfoAD9IJF23U91EFH2/fWMfL/PvrwDT2UP6Q4nq4b9YYrvGucEAgGRQ1swI9HNy5VxFwgsAy4vEMCLghoSD5HqqJghiUujjvQ/Y1LkWvjcc9ftonBA8eIVDNJIrxSGz5DYq0QFsqLydqDwttSsZE2fSus1QE71IDRRgrgjbigAuAInJAJttGBcXt307xy1n3CsYPyhKzFFAjsDnB3a3O30aak4tH/SJ++v41DkkZRYWxkto2INiAao8NnZs92c9twNrWBAGtrA+FUuKceiELnrY75bi7r3jxpc6CceiTBxxtIgcAMwZrN2rWOo1/hTck1ZqY8S/rH/D+FCoP0836sf+r8aQ+JdN8U+PljwbxvGijQ2KC2XMbll7VzarHDek+KbEPGwiEhXMbLmBAAsLLIT869h3UuSDSU30aE024r3RpGHltm05X9n/AJobgpgmMxJchVLIAToCerhsLnc60uTdMmySKCvWLdWIUkAWBbTw5nYd2hqvxnEGSKFpNWkxWHOoA1yw622HfXNP4tQcFH+51/so8TW2HMdKVLNv2jz+saI8PlvEpsNV7/Og3E3ORjv2u/U9qp+H8SXq4lzBXdLqjHKxygF7KRc5bi/nXonOMMMhzgac+dWHbKCzPYAXJNgB66H4S5kF7c9jVnGYQTI0ciKyOpVlLGxB3GgoDItgeNe5T3/ZVYYwC4uoKkA3awBNrC5G/hU2Zu5f3j+FKEgRAG0+kT7SSffelLGNC+PljbI7hFOUqGKjPJrqNL3H82psDdr10vyr+eSn6if55qCMDxhCuKXKsSoYn0VLMTmi3YG1vV30SIqKVfl0/s5P80NfYPiMcpbq3D5GKtbkw3B8daYxTweCvJOXWNh1mnY7XoJuTe+lvYe/T3DNEuNSMZQ5RTky2uvWb7WPPSreBW7zf2g/6UNcydnFIQL9i/naWP8AGsAasSdKB4ga0QxE3ZFB5JNaKAz2Ia0Si5ULhOtEoTpRALPTnETIYDDGX+XjuQwBGuW1jqbhm15WuaOA1U6RH9Ge6aD3uF++rVAYG8PQCfE2AHajOgA3iT7waIAb/wA86o4XTE4j9WE+6Qf6autMo3IrGB3SFQcO9wDbKdddnQ/ZeiOW2g0Aqh0gH5rN/ZufYL/dRA0TC9xWaZeIYQxoXVllVruFUfoyTsdQtzb52Ud1DwbNbuJFMPENJsKf61h7YZvwpana0rjukYe80khokrHevr1HfVq8D0AmeRcJDOTGshVSpGgvrpbw7JOvfyq3DwKYvIVkYIASB1YZzYEgFQ411Gg/EU+8IwSZ37CgA8hRzC4RASbDU/cKg4Rb6LxzyiqRj8fCHw6yMVnmYoVA+L9lS2XXMXIa1iPR9lE8LBMFUCKQ6R62b6OuhAOla3iFtEbC+lRQQLYGzA0zxqn9yXzXezEoOjWLeRmML3Z3a7C41ZrUzdH+B4+CVXRCrfSGTQHIG7JIBOUMP5vTnjeLRxk6ki51GY68xoLA+FU8D0pVnIAOnO58ORronbhT6OePBZOS7AsnRXiIkHUsnVyAGVZMpGfTOBZScu9henfB9HGlhQYjKsqzCRChZlVlZSulxmFlAsatcPgZ489vaTVqIuGXs6BvPauLJgxuUJV07X+GdHOTTTYt4/iIt1edc9lcrzylgM3dvyorgEPVobLcKNTYHUC9tNPVWfycfmJYHCqGBCqxcKxUa2PZ0F+V6sf+sceFCLgRlWy5jKTcCwuLJ667btkTQuF4ljiACVPZY6X8KMDHjXsvp9U6+VZ58H3H8RLjCs8ccYEZIyFib3W4N/VTpwPCSRCQSTGUvIzqe0cqG1l1J2ty01oBLOLw8UsZWSPOrMrFSDqylWBIGuhUH1CphxEFsuV/PKbVF8dUNqwBPeQO78PdXQxy/THdvWMcdZ2h50Jt+dzfqJ/nmqzNjAGHM39nnVOCdji5AUYDqkOcgZCc0hIBvv2v53qUJKUmkM1SIsQh+MIcx/RyaaW3i8L8/cK7wuBEZYgk5jfXx+7SusSPl0/s5Pthqcmqgsq8OW0k51/SDn/VxH7/AGW7q5xjZZ1a9rRt7pIakwR7cv66/wDTiFU+KljMF6tihgku+mUEtH2SCb6geO/nWfWgBZ8RdLnxv7TQxMSGsykFTqCNQQdQQe6g/SXijQ4Cca36tlQ8wW7A8x2t9xzvvVXocGXAYYMLEJbv5m3utUoZLGcaGzDmiUG1BuHy3ozBVyYL6Tegp7pID/z46tVV6VaQk9xiPsljNW23oBAmCxLnGSgxst403IOitMFOn0rnTcW1oRxvgQkxkcxjz5VsNTowsQbbaW50fU2xreOHT3SS/wC6iR3/AJ7qyQ8ZOLtA3jpb4rNlXMTG4ttupHP2+qpeE4p5IlZ4zESPRLK2lhY3XTXuqfEJmRh3gj2qRUPCHzYeE98UZ/wLRFIOLmzYc92IT3pKv+qlLiU1sRMO6U+/Wm3jg7MR7p4D/wAxV++s/wCkExXG4of1kbe1E/GkyDwDGftnyqLrajWX5QeK/dVdpNaSwjJ0XlDGa6jRwB7PFR99NWFXuC+z+FZ7wbESASmzrd/nnuAFxdRpTRwjiyql5HN79/LTxqk1UmcsJ2th/icJaFlvlJFr+o99VcOAI1BNyFG/lQji/TKJU0NzfvHdQJumrPHaJVzDZTcXH1SDa/gazvjQeSsv4jhUKSPJrdjfc28tOVVOAOhD2tpKw0AG23L1UkcZ6ZTAN2VUjkxC+7Q1U6PdI5LODIt7l9FvvvuNam1J7GTSTP0LwEgwg3vcn7a6wTEGW4t2jbx1bWkDoN0neQKtz7LU5xuQJAOZJ18bny51XhfZuQj43DqDmubnKLbjS+1+f4UwYXDRlBo17Dw5DvqtiMKhWxvf6h1J15be8Vcw+AkGWwJAFrWC3211JPqrpkk1s542noiThKu5UAAFCDyJB0IuPOq2B4CgQCNTkTsABn0tbTcGu8TxIxMbix7ufv2oeOk5DG2i8h30qw30U+ZXZZPB4w12BBHi33mvfyPC2W65srZ1ub2YbEX511gulha+Zb+FGoVV9SgAPdp/CpyxOI8ciZBh1uRpVPEcYK4nKgR9BGR1qKwZS5ICk3Y2ddOV6KrgBurke8fdSZx/ojE0pfqhKys0mj5CGcksfMkEnzqCg09FHJF3jHGocPiIpsU/UXR1XMxIbVL2VbgWuNfKvm+EXh9v/lR/4vwpP4z0Kw+IaNXD4ewY3DFy1yosc97c9qEz/BbhwxCzS6G1yqkbE8vKnqgckP8AwHpLFiJp/iny5GVmbMygAgACzC26nUCrs3GwZ8rdWjIrIV61WbM5jKgqNVuEO+9Z9wn4PQplKfK2Krv1ZvYE6Abaj2UT4b8HYXFx9ojOwYgMSDkKtZtrjbv2oJM3JDbxWxjOgNxz1Hvpe4FxbIgUKoFz2F0G+6DYH6ugPKx0Lpxfo1IRZQD5Nb7aRsd0cmS4ysKnlxXtdjKVdjfwzEK1mQ5lP3Gxv5HQ93O1MeGOn8+NZXw7EyxPmBAfnmJCyW5Np2WtoJBqNiGG2h8A40k6m11dbB0bRkJ2DDuPJhdW5Ghiy2+MtP8AnQZR9XRS6fcQ6nByvlZrLsqk2IOYFreivZ1bler2DxvWxrIFZQ4DAMLEX11FRdLB+aT3/onPsW/3VOkdlAUWAAAGugGgroEKTj88Xxw7e6RP91X8/wB1L2M61cdETKgQpLoVscg6osuYnU3s19LBT30fQXI8QPvrBPU1t6qpdHz+aQeESD2KB91W0NwQCLi3jY8rig3RKGZcOBNKr7hQqZMoVmUi9zm1G+lEx90vx5iw+YLm+Vh0vY/pUbS+l9LC/MikLpZPmxk7ZWTNHC+VxZl7KaEXNiLVoPSSNWw0uYA5RnF+RXUGs9+EviXVcSNwLPCl9AdLuOflyNTy9Dw7Lkc3bi8Url5NT51SwnFYnyWIBXYXIJH6ramiLQITe7a6+j/GpKSKUwDPxJUUhJG7zZQtz33zMT7BXuHZXFy7E+Lfwq7iuFwRqcsbse92NvYgS3tNLZx2ViOyB5ffv769t4F3R898yXQ3wcOh6slpO0B5n7SBQDGM2Y5GGX6zX9y3qjFx8E5LljroBz5ab0NeafnaMd7sqe5jmPqFc+THR04m34GlRMSpSdu0NBIq2YeBJ9IeNqlTo+uGszA5W0Dk3U37ioAvSrK6Xu85Y90ak/4nK/YaO9Hem3UKYGiaXDOflI5GDEj6pygLrrty5b0kMey7ujR+jOHSJRJEA621yksw9WppnfpFEgAbRm2BIHupDkxhy9ZgH+RNs0QAV1J+ZlGrfzq1WcFho8UihgwXUlrqpjPIHMb28r11LBFK2Q+bK6Q4xcQCm5FjvYD7z+FccR6Y5LC6tfla/v0FCIsE5BUsSiiwksVv6zq3nUGE4Kj5mDBgOQP30jhG9lVJ1oN4fFx4n0gb21/hXX5BiZdAQO/+NQ8LnSK5IVeyNtTfnqeXqFVcV0qDEgX3HMX3GmvPXalad0jJ62X24R1Y7HdyGt/OoMfxlhoEY230NVYukThspve9rc791W4OIBz2gF5k3t7b6UGn6NrwHvxWYjUNl7l5+vlVjg+Id5SuXSwPMnc7++iUePgzWkZbcmsQP3hv9lVMbw+SbMI50Kj5sRuD5gan30v7AKnFWgWVWLXZb9lNTc2tdthax796hk4pGW1iUag2vck/yaoT4CVCQLADuHaHnmoVNhpEzHS+5Jt916KxoVzfg6wcQS7ErlzEHQg30HK3h31Y4bOHxkZUjKqte47QJy2ty/8AFJPCzKzWSzD5xHor45vDe1OvQoR9a2T5R9i52HeFH3mhKKitBjJyaseMQmlKnFF10NNmIGlKfFsRlJ76hAvkBGImSLWSzE7IdfWb7ChJxoLhkfJIuiuoHZG+Urs8Z5qfMWOtW8XDE7FnW5O5DH7K4XhKSWWJih7itx7R9tqjnwPIt/s12hsWRRLeM6TAw5cQsYLHI6iSy9WRZnVj6Q7l9LW24uVDgnTjhsxcSxywZbWzyTyZr3vYITa1hv31a4hwZgWXPG7KdVV1JuPqtY3oWmC6pSWiKA8ypF+7QikXOKqW2VuLeiPpZ05hwrxNw9UdisgdpEmNgclgOsI3sb2HIUG/96uId0P92f8AdV3iEEb5cwB3sR945V4OBQkXCKL/AFb0ryNeDcQSfhZxt2IWFS5uxWO2Y8ide166PdEel2FlWQ4+IdZmuvVwXBBuWuF55u/vqtwTo5DLiljdBlJIOlr9liOemoG1TYzBLh55Y1ijZQ9hcG9rAjtKQedUhclaQkvp7LvF+muAjkjEWBWRWPaZ4+rK6gaDKc2hJ5bUM6d4xMZMkqSRkqhQqMy3AkkKWzgXOQi4vveucY8JALRMtuatcexlJ99UuJwQ9gq7C4v2kH2qx+yjOE6NGcbAqxkC23hy9m1Sh27z/PrqycLcDLJG37Vj7GtXvxGTuHtX8alw+w/IcOMQRj05ifCJGa//APSZlHsQ0icTxCBzlU25B2zfYFX3VHLxiRn1YnXnrXHEptBprbewr6RyUou/DxoY3GatER45IBYEKNNEsg7tQtgfXVEKGJJaw9/sol0e4A2KZlUqCANWJ01HIDX2irE8WFgbKyyzyDe5ESf4SzH2ivPlbO7S6BdktZQzMe/8BRLDdH5dGlyQKdbzNkuPBfSPqFeP0gkGkQSBe6Jcp9bm7n21Ti1a51JOpOt/bRh2JJ0h16O4/D4WQPHJNNKOUYEMRHczPmZ18MorReG4iOdRJaOGQnUKBqe4yFSdfGsiwjqo9G9OHB2Z4rLZAea3v7TXpPCnG29nnrM1Kq0WuL4qaHEkSAjMey4JZfAFu7voxBwq0XWJZZCO2Va6H1t6VXOEY8yZcO4z2HpvZ28N9PdTT+QkWE5mbJubWzeNuQrjyZOLqR1Y4WrRng4VNJfZcoB1vlPr3BqSFCWDzSrHuq6G/cdPI6Wub+VHeK4781LQxRxqFaxN5HOUqo1IspsSb2NrDzpLxOJfsqLHMobMQLkbkEWtztpYeFJGXNjtKIYaGNW+SZmAFsx0bkTYb8+dqikmFrg37ybFTyFhbfxqDh2EMpyaKbHbY28LaUSgwllcsTZOybWNzpYAEWt4+6n6F7KEnEmCkING0zG178/5FDmnljPyburHmL3NtdR3fjRyyqRmQEG/okgj1m96ji4YM4FgSxyrckWJNgb2O3l7aZNIVplPBdMJlsuICSr9ZbE38RoO7QUV4lFhigaTrIA+hQspNjva9yB5n2VaxuCjwJRQolxDAlXcdiPvKr36fx5Ui8XjeWRi8hY8ydPHS3LwqMmpO0PFuCaew5xrDs8XVQELCAMojN7jvYGxa/spt+C7D2U6fz5VkOAndZFAdhqdibHuuNjW19DOLhcOHdb6gdka6kAc6nO+AcdOdjtJsaSuPvbNTte4pF6ZCxNc+Ls6cvQjYziBzVe4nxz4hhht8Ym0QfRHNj5X9pHca84DgFZmnfUR6geIBN/551nHHONNiZ2lbS/oj6K7qPx8Sa6JM5Y62Sz4pjcn131ueZqfBdIZY1ASV18Axy/unT3ULGI0N6iVwRppU3bGTSDUnSc3BeKKTvOXqyd+aW+yrUHH8G2/XQnwIkX32NKsj7V4jAMGIvblU3BPsqpvw0TgmHQYiJ0xCNZrhSrKzAgiw5X176o9KZcmMkP0greqwU+9aH8IxN8RCRfV095FHOkckQmHWQh7oO1mZWFi2lxy9VNGHHoLlyWxcxON7B22oRicQpVTtTTHwWCckRtLGTyYK6+0EGgnHOjUkEYLMjDwuD7LffTSToVfqBjJXPXCoSCa96pvD2/wqLRRH//Z"/>
          <p:cNvSpPr>
            <a:spLocks noChangeAspect="1" noChangeArrowheads="1"/>
          </p:cNvSpPr>
          <p:nvPr/>
        </p:nvSpPr>
        <p:spPr bwMode="auto">
          <a:xfrm>
            <a:off x="1797050" y="-865188"/>
            <a:ext cx="2533650" cy="1809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latinLnBrk="0"/>
            <a:endParaRPr lang="en-US" sz="2400">
              <a:solidFill>
                <a:srgbClr val="292929"/>
              </a:solidFill>
              <a:latin typeface="Segoe UI"/>
            </a:endParaRPr>
          </a:p>
        </p:txBody>
      </p:sp>
      <p:sp>
        <p:nvSpPr>
          <p:cNvPr id="8" name="AutoShape 8" descr="data:image/jpg;base64,/9j/4AAQSkZJRgABAQAAAQABAAD/2wCEAAkGBhQSERUUExQWFRUWGBoYGBgYGBkYGhkaHBwWFxcdHhgaHSYgGB0lGhgZHy8gJicpLCwsFx8xNTAqNSYrLCkBCQoKDgwOGg8PGiwkHyQsLCwpLCwpLC0sLCwsLCwsLCkpLCwsLCwpLCwsLCwsLCwsLCwsLCwsLCwsLCwsLCwsLP/AABEIAL4BCgMBIgACEQEDEQH/xAAcAAACAwEBAQEAAAAAAAAAAAAFBgMEBwIBAAj/xABNEAACAQIEAgYECQgIBQQDAAABAgMAEQQSITEFQQYTIlFhcTKBkaEHFCNCUmKxwdEVJDNygpLh8FNjc5OissLSQ6Oz0/EWFzRURGWD/8QAGgEAAwEBAQEAAAAAAAAAAAAAAQIDAAQFBv/EACkRAAICAgMAAAUDBQAAAAAAAAABAhEDIRIxQQQTImFxUYHwFEKRsdH/2gAMAwEAAhEDEQA/AMRsD4ef40XxHYw1uZVF/eJmb3CIUHhjzMBtcgUW4xjfQWwIIMhU62zkZR4WiWPasYDVNhYszgHQcz3Dcn2V6yKR2TY/RP3N+NvXVvhuHtcsN9LfVFi3tOVf2jWY0avYYSXq4nZkLLcEWBDC40GbeMKm4HMb60tu4Ddi9j37+I0386Icaxp6wKrH5O4uNLufTPt0/ZoTTN+E0rbk/QlhJL78vef4X9rVJPiVkNn5DRxv4XHzh7wLa8qHJNYWFcl61g47L85uAJe0NklXU2HL6wHcbMPDaqsODZ3CJZiTpbbz8BX2HZvRW5zaZd7nlp3+NPHAejxiAUDNM9gba/sjw+2pylRRKwn0L6NqZI4htfNI3Mhd/LkB51rQiAACiwGgA5UJ6NdHFwyXOsrDtHu52H486NUsV+pmyG1eZanyVwUpxTgCvq7tUbSW8axjosALnas06a9KpMU4wmBYm9+tZdAR3Z/mr3nn40X6XxST9jrxDEp+Wa/ZC8l8WJ5a+VLmDzSq0HDk6nDr+mxT6FhzOY7e38KpGNojOdOhaikhwpC4VRicUTbrLXSM/wBWh9M/XOgtsa5wcatNnmz43EsbiMEut/rP8+3h2Rbc7Vd4zwNYEzxmT4swytKIyGmb5wUnaO9rE2XwY6UL4bxFwwjhHVBtAF7RJ5ZiR8p5EZQdgKZKpGbuJoQUdWr8SnVY7djCQnRvA5TeTyWy/WO1GjxB3TJJInC8IqX6sFFxTx3+iNIFJ8L+HOljo98nN+aQnF4sgZ8RMbLE/MFjdRpyU30sSeTJwzgcUk5d0HFcbcZioC4WEgWVXkN1IX6IDH6vOjIESXhOIllRo+FQLhcJa74ue65rXu4JOeQ63zE201NtKk4F0cWKRxg4TiMQpIkx2LBEaEE5hGh1cg3HZAGmrUZlw6yyZMQTxCdLWwsIy4SE8s9zluO+Qs3cld8cKlkGLZ52JCDBYY2izm1hJIctx2k0kZRropvakKguCBDMWhDcSxYNjiJCBBCe5WHYS30Ywzd5qljIVeW0hbiWKU/oYwFw0J+tfsDzcknkBR7HQM9oZ2ygDs4DA75eQllGUhf7tPE1HNgiiiFrYdPm4PB6yEf1koAy355co+uaZE5CzjIi06DEymaVWUrhcKD1ceo1kbQmw5sQNNjS7h+HBZtQwtKfQuT6RFgRy+69NfGcQuHQx9nDJv1GHs0zeLyfNvzP+KqcOAujsoK9pyLHUdo217/xroSq/wAEb5V9mFcA3UJZeqwMZPK0k7/aL/vmi+AlC9uKMKeeJxRLP6lJuPIlB4Un8MNnZgApzEGSQ5mOp2uftv5U04GRbhrZmHzpNbeS8vdRcVQim2wxFh+t7RD4kjUNL8nCp7wlrHzCn9ap+GKTn6xhISb2i7KakgAkG7aKNydhQDiXTnCxD5WTrCPmjUewdmkfjHwuS3kaA2RzlA7JyZFXY+Oa/q0pODKKS8NdxvFUhTtOkKdy2Hv5+oUuN08wQNs9/GxrIoIuIcQbsK7Zj6Rvr+0d/wBkXot/7Q43nMgPMGQ3B53ub06hFd/8M5Sf8sUsR0SV9YJNT8x9DqbaNz9nroT0gwzpO4ZSouQtx81eytjseyBtTZwrHZWv3KxIKg8uzuPpldd6vrPnARgJAbDKwv4c6SWKMnrRDH8ROCXPZmYF6Y8PKYYy1gwQDLzBOoBHd2sxN7aKKK9K+GQZlSNArjKgKiwNhqTbQkD16amhnGuHzIkRS+RtgpOYltALfO7NhpffXeoODizujmU40vR06LcAwk+AVGWObUszLpIjNa923BFrcgQBpS9x/wCC6WO74YmZBrlNhIPVs/qsfCk/C4ySF8yM0brzBKkeH8Ka4vhRxHUNGyqzsMvWDskA6E2Gma17EWseVLoamuhMZbaGvKsTxpbMjHxVvSHkRow8dD4Ub6K8GDnrXF1U9kd5HPyH2+VI3Q6CPRbgRjyyOLyN6C81B8PpH+d62Pot0Y6heskF5mH7gPLz76q9Dei+S08w7ZHYU/NHefrfZ9jflpUr2wt+EJSvClqsdXXYiqgpTNem1Aem/HXw8doBeQEFjlzrGuoBkUEHXkNL235HFsbJjsVKRiMQxRQHZnktEFJ0IUWGtiAAL30tW4urF5K6NY4z8IeGgnSAFpXZgG6sZsl++3pH6o1t7Kk4zx5I1u7MitoqqLzzHYBFH6NSdLnXyrIhikiQjC/JR7PinHysnesaj0R4LrtmK0Q6OcQEJBGTDqbHr5rvMQDcFEG2uo2H62t2jFCybSHTiPAmmMZxYKRX/NsFCp6yQmxOc7A23JNhzNqJ4iJI+rjxKCSTeHh+HF0XuZvp25u/ZFtjvU/CsUqQmVCYIW7UuLxJ+XmOoHVofR30LWUckN6qycPkALITg8NLYGaRS2MxDWJORD8o+bSwI01sttaf7CVZQ43KHITGEyu36PA4a5C20Gdh6RHfootzFJeP4HLAxiZFRsoJQMGJB1s7KdT9QWF+RrSMPw9cOMqq2EEnzR8rxDE+JIv1Q9tvq1Bj+DqQIurWFtWjw8a9diXYiwaV79kd5Jt9bS1UjT7JytdC30XcTRdXIJpBHvh4nWNZbkBSwuosNiAQO++1P8JNlglbKAOzw/ADUDl1swy5F79Y18WpOl4K+HkEyrYqbOvjsQfA7edPXBYQY1SHMsLDMIsNH1Jb6RmxJOhvcHKVY2+dQyRobGyyiEAQEiBQNMFgtZLH+lnFurB8Mg+u1ccX4Wow4jMKqiywuuHw75HDdYgzvPoAwvm5ElbZjejWBw6qmSMKqjUpB2UvzzzaFj3kWPfeg3SvEsYXijyhApzKg0ZiMyqGO59Ek6Dtr41EsghhoBGvVqBEL6w4ftSE/wBZMdieZ0P1jQ3iEhUFE+THOODVz+vMdj7D4mlfhvSHGxwrGYZTYa9uDtHmSc4Jvuaml6RTsuVsNKB3K2HX7JRTQkk9iyg2tAHpG2RSDliHNU7TnxZu/wAaO9GQHwTMPok+vq1b7SaC8Twkbo7yYWfIgzHLJHm0DFiMsttANeeotRDgePMEHVx4WcRkABSY3axXfMZNrG2/KqTyqT0TxYXC2zPMd0yaKaUAC4kcD9420GvvFUjx/GYs5Ezvc+io09g0Hrp0k6KYRpDI+BxjMTc3KEE+Qko6nGfi8eTDYSeEC/oRKpJO/aDFh+zapwfFFpwUn0JWF+DDEsV+NOIQwvZiWblayKCSTfSwOxpuwfQfA4IB8QRf5pxb9UD3ZMMl5ZdzoctMnA+jryQJNLizhYpALpCqxTMdm6zENeQtcHRctFuCwYCHt4LD9dIwv1oBdz4tPJdveabm/AcV6C4Jp5xlw2FmkQ/Ol/McN59Wvy8o8Gvepx0Ox3/6tfAYJiB4Al7nzpkw3EpWmVZXiiNi3VBg0hA3J8PGwq+eNRfSpbkFJH5iGJQRsWFiWVNLD6TnvB1VavcIky/Khgch0Vri55bE21I1F/KuMD0KxGIBjV0RlVXCyAjPmGW4I30jve3zqo8a6PY3DIFeF0A+ctmjI3HaXQc97VSOTVs5J/D26R6+IE0+ZjlCaFtx3sbi3fvpRjAQ9diC4IaOHRe4udT5gDl4+JpR4XxYwoxCtmIsD9b8L/ZTX0cwyGJerY5h6TocpLHU5la4bf5wPqoKVjuHFBHifBocRpLGM22bZvUw+w9kd1KfFPg8kXtQMJF+iSA3qPot5nL5Uz8Z4lLh4iSqy8l0KsCdrrqCO8gjwFRDiEiwhyvbK3yqdL+Z/jUpyQ+KMvDOYuFSGURFGV76hgQR4kHYW1rc+gPRJciSuOwnZjXvI3Y+v33pa6NcDedhpeWTV25IvcPqj3mtgwuGWNFRRZVAA8hUV9TOrpHuSpEFdqtVuMcXiwkLTTNlRfWSeSqPnMe77qoKWndUUs5CqouSTYADcknQCkXHfCIuIYphnEcIIV8S2UGx0PVK+/6x8wG2rPum3TOfinZiNsONeoXR7jnIv/Et9W6juBoR0eQqc73sPRfQhGGotHvIdtARbe4q2PHb2QyzaWjZeG4xYYsrDqcNs2YZp8Q537Ju2u1zdzyAFjS/xb4PklvJCmW9rYVzq43DWGwAt2QdxuNqLYHBzwKkkgJQi/XuGeSzADLHHlvHew0Itto1FIcUQypGWUuNUBJxEh1v1jaiIXA57E6ptVGnEipJmN8d4G8UhKqXe+XtgDqu4LGQBYa6kAD6ItmoFHhcrdY5LPe4BJNzfe+7er94VvWO4CMXZp8gKgX6u3VRrcEiSY/pWO2Ud+t9DSn0o+DRms8O9uyNQjC5PZB9DU3tsb+N6RJMo5SoEdC+lq9cGkKBx6M04aYpytBh10zdx38TsdVw82QhiZEaQenL8rjJtCB1cC9mBRmPKwvqg1NYDLw50c+lHKp15Nfz5ef/AJp96BdNFUGGU9WTbMQwiz/2uJYmV/BUA9lGcGDHlXQ9T8LZSRGHjL2zdX8rjJdFJ62duxABmHM/VI2qDA4UAMqgIt7ukLEC/Pr8Y3aY94XXzo0ljFlQKFYaDJkTWxuIv0kp03awProVxjDkEEm9vRzAWXbRYh2VI7zrQgr0bI62ibD4aI2WyZCMvYUJEBroGY5pGJPpAeyhHE2/J75JLGJmBUsLrfYEi4v9FhfexqljulcMJJd7t4nM34J7vOuY+luF4xg58JLIsM0YzQuxvm5C3NjfssouSCCLnajXHsnF81odMLx+Jo1kdwFsLdYV08BEhygjbUk1QxC9YuMuSSBLv3ZEK6ctD7qQ+hnQbGjErLi+xFEQQhPacj0dN8t9dbXy+NaabBHB5owPrRR91Rkl4dGO62LOGF1U+A+yk74R8OzGAqCdJAbA/wBWRsKdMEziNBYegtwbgg2Fxa3fVhZn7h7f4VFaZZoTOgUJ+JSIwIJeQWIOzInf66JSOfiCsCVPUQsSpIPzCbEajS4phuzEXtbbfy8KVcXA78JyoVB+LWOYE6IpzDTnpoeRrBQWbgQB/S4j++f7zQXjEow0sK9ZiWLtlKkvIpVkkUa2tcPlO97C9MXDMM6wRq5BYIoJAsNAOVV+NrZYifmzxH2sE/1VqMAOj3GXMeGijwBxkxRC0kmZ0QZypsALD0bkkjXXWm7EcI4pOv5xiFw0Zzjq49DYkBBaM9oW+uD9gv8AwXyNHgTGQQVnmUXBGmYlT5Eaij2KUsrk6kN7gRaqxEasDcF4FHhbxxr825Y+kx1uSeev20PeMgnfemiYBZb960BmiOZvM/bVExaMPg6cPHO0clnw4YqMy5njXbMh3GozWvamDG/CM2HWIYaYYga5y6ta2lhdgDcCswSZibd+w3HlaiE0dktk0PZUg22sWOvIk/bUE/EUpdseIul/C8acuMwvUSH/AIsR08yy2PuavOK4+PhyBsLio8TGXy9UwUuOZ+UjIOmnpDmKzsYVSNHF+5tPY2xrh8E4Ga117x2h7RtR5MVxTNIwvTbC4tepkDQM9gT6S7i/aUXsR9WtAx3RGCaFBh3GgAUrZlPsOnt0rLPg/wCibTr1iLnc5rcgijQ6nmTpWzdGuADCprrI3pHu+qPAd/Opt8uxopR6LXAeDLhY8g1Y+k3efwHIUVU1yhrnEYyKLL1kiR5zlXOwW53sLnU0yM2WVsN6RfhO6OJjYld8UcOsNyubWMk7kgWa9tAQTpy1NHulvGRDF1aXkxEg+SiT0zqO1sQqDcs2mlqWcH0dkZ1m4iwxDixWFTaKM8rg9mQ+ZGvI08UTk/EZnHwCZE62WHPCAGSYXQE3y3LmxCaE2YAnS1i16O8E40olSSy4gxtrJaxTW9urIswuDqRfXTLudKxPS2NSUQCSS2qnsog2sQdWO+gvtyoJF8G3xomT/wCMScwdBk137MY0Hnp5mh/WwhkUO39vPyM/gsk8fPpff38Gi8C6TQ4pLqRfmD+HKo+MdHs93iNm3y3Ko5FrZslma1tr2rKpMLicFMy3XE5RmLQG8irewLLv3XLADXemXgXwgidcqy3NuWjjzU7+Y9tdLxV9UGc0cnJcZrZf4fxESNkcZZI9BdVJTtakQC8cFh85zm02NX+GqqyS3tdyhZuszl+yoGaQi/K2RBbTek7ifBHjUywG9rtbdL9+Q3Ct9a1TcNV8QpkM8qscoYWiIBCITYtGWtrzN6lOltD4+TdMa+kHQrD41e0MkoHZcCxHmO7wNYj056Hz4Jh1gtr2ZF2PkeXlTfxjjJw86wmXEEvlIIENu0cv9FRcYeTrJA2IlKqikC0RtfrL7x6+gN6EczS4+BlhTfL0zjon8KkuDBjkXrE7gcuveSBmb1k0Sm6Q8Q4oGEMTImmVh8nGuvbzOSBse/1U6wwTEBgZ7EAjXCDcXHzK5R7uUdsY2hBSIx57jqTo0SqVBEgu2YWAOorKewvEq0J+E+DeGIr8exJeQ6iGK9yBqbDKZH05pGR40/dHej8kYBweETCp/S4jsMR39WpMr+TSRDvWrvB0hiB+LRRRFgCSbPNm1zZghZm0tqWve9EcMrSy3ZWZQLsztZQeQWMaHX6WosaLlaBxpnrxOtw8nWNckuEVAT4KvIDTUk6b10sV/Kp5F19v31aiiBIHj/v/AApCoocKQmGP9VfsFWurqpwqE9Ump2t7LirfxU+NTHOWS1vOgmHwx+JshBHYnWx7s0gX2i3to5JAdNTvVHAKXVgxJtLOnqDvlHqWwomJOHnNFGe9EPtUGq3SOO2HLH5rxN7JYz91WeA64WD+yj/ygVD0pwSSYWXOoYojMtxsQL3HsrGCXwcT5/jYLFsmLNje/ZYXWx7rWtTRjH7Mo8QaS+gxEWIx0aAKvWRMoGgA6pbWHdpTNNMTcnnv76eKFZxO9yD4fdXJhBqCSbRf55V51pqgp+XuFwM0m1yov432G/ifdXHEZlLWBNl0G1jbc6HvvWmS/B1xHD4WTMnWuTZQwaSy7Hky2tfQkC58r55xHCNG4SeARMdytxp32BYeoAVHjRRuwaYDrazW1Nqk4fg3lkCRi7H1WHMk8hV/hIgXGJ1knyIk1cqSLfSy2v6rVt/COikEjjEIyvDIt1ZVKlxfncA2pWYt/Bxw3qMEqZTfMxLkavc3v5XJA8qZcRjI4lzSyJGve7BR7WIqtxLE9Th5JBlHVxswzXCDKpIvbYacq/M/FOJzY2ZpZWLu3M+io7hyVR3VkA2LpV8LGRur4cIpyp7bk3XTXKiggt+uDbuvvWY8W4jPjZ+uxZcufQQdkIvcAdI0HffxN96u8B6BzzxGWCMyFTY5SufYG6xscwH18p8Ad6sYhsXh1yzI6LYgwyxl1IHP5TtA8+QHKw2dIVs74Fx5oQXjlOc9ljlJQRqLgasGbc6tYDuo0nwipKQsrFVtoUuBzU52FmJy7iwGtKv5YwsoCzYQoBoHgkKkeJR7qx9Yr38h4WW3UY1AT8zEK0Lf3gzR+u4p5RUk1Imm4tSibLwvivDliV1JxMmiqoTM1zf0VGijQ9okW76JjgeNxIJllOGhOohR88pHc0/zARyXN58qwPE9HsZhu2EkAGueI9YvnnjJHrNWOj3wl8SgYRwSM9zohXP59nc0kcUMSqCHllyZnc3Z+kOF4WHCJlSIQruWGoJ72f0ifFqV+mPR/hmKe2VvjW4bCfpb8i2Xsnzb2ig3BOl0+Jt+UVZFIFo8O2UsdjmRLuR4CS/1a0bhvC4BGpgTqVIuAq5D+0pFifMGm62xdvSMyfgXFsKg7HxuEi1w6x4mPkC1syv36ZzRHo/nEbZl1L30BUHsR6gMAbXvyG2wpwx/E5IiQyxqNg7sFJ8owSWPkR5Us4GXNJiCzE3nbWxF+zHyOo8jSydoaPZ5iODxSuHeFWYWsSdRbUc++o5g2ebKBfqksCbD/wDItcgGioK959hqlYdZIb3uiC2txYzWPkbkfsmkoc74KG+LQ57Z+rTNba+UUNj6NxYjFtE5eONs+cxt1ZJK4VgpYbBiG89aL8LN4Yv7NP8AKKF4fiqw41nnURxgut3ZbNmjhHIm17DfvrJGY68O6JYXCxdXBCqKdTa5JPeSblj4mr0OGypb+fClLBcawXFHGFilnPUnrGCsyqVVhdH17Sn0bHW21OmJewp99CqnsHvDdlHeD91WOoCkef25r/bVET2cHuP4VZknvbzFYIucPj7OuvacekBs7Ab+AtU8kmlhoPMH7qh4thkGBlkYspR37SAFwOvu2UEgXIJHrr3gOFgkifKzOA11eT07FUOUnnYn325UAkDxkfOJ15+Xuqhw9spmNicuIkNhuboj6eJze+izwKOQ3H2ih+BUdbiARtOh/eghFYxS6GY1pcKuaJo8haPtW1ysV2B0Olj43teinE4c0Eo743HtU1Hwdo0jZbop6yW4uAb9Y419QHsFWMY4ZCqSohPM5W89Caxgb0e4gxxUqFrqIMO6DTTMDm8TcjnTBJJr6qSui6smJTO+cvgYjewG0klhYfRVgt+dr01yS1SIrInfsjzqYT1SMmnrr7rKcBgeC6e42C3U4qVAosFDsV/da4qt0l6Y4rHsjYqTrDGCF7KrYGxPogX2G9WJ+BkaNhJAf6uUW9jKx99VH4VGPSGIjPjEHH7wZfsqLb9GVeAkmiXDek2Kw9upxEsYHJXYD929vdXP5NjvpPH5MJEP+Qj311HwNibgo6/UljJPqJuPZSDHv5RnlLh5pSrnNIC5sTvdgTbfmanjnyABSFU65iCC2nzdAT+tpuNqJPwiCxv8chHLPAHQebIwv52pdxy/KMFcSAGwa1rj9U6jyogLSYxl1QOu92Vrk763t3Hvo5gvhDxqIY1xshQi2WYdYPVnD291KdiPmke0UT4RgHxBIDHsi5Bs+nm1lX9phRTBRZXiL7mOKa2pIADe2Ig+0V58VjmXN1ckI+mzKY/a2Uk+AJNGMH0dhjZDI6DMwHyWXEycj2QvydwCDZVY+NamOg0RVZMO0OY65sSsgmUW1tdiF1+aqp5im2DRnfQPoQJp0yTZzckZG6obXNwwzsLbgAc60HHdGo8IrkxShdc10OVydrdXnllOoF2sRvc0J4D0ZUrLJiXd8uJkS6GRcxUkahGLZb3NrnU63p7h4y4jCJcIAR2zlsBtqbNR6QrdsSIMBjcQD1MZgVgP0hGHBtztGWna/czjenropgp8MPl8U8ulhHkVI156HtMT4lvOhMvSGIWBxCM2vYiHWliNxm325aHSvuH9IcRthsFI5bTNiGKAHbUG7AeWl+6pyu9Dx62MHE+keChcyNKiy3CEpZ3vYkKct7DfewoJwvELMZpEBAeVm7Wh1VDe3LlprUEXwdYyV3bFYtGV9ciRKMuoNgx1A3Fh399VsfwaaHDTxYYP1iy2jIKqcoEYJu+hFgeevfRdUZJp7D5iPK3toabCeUn+ijOgvs2I7tTV6CIZFDatlAba+awzbeNV40HXubadXH/nnoBOeATh8NCwvYxpa4IPogbGok4VBicYIsRGJEY3sTYXEatqBv6I9ldcLxJWGNRBL2UUHKq2uB2rHNrreqsHCJZcYhBnjDyAks2UqqoxcLkN1BAyb/O50EE0HhnBIMMCIIY4gd8ihb+dt66xW1Wm2odjGooDKNhm9Y+6pwdPLX/Kaqs4UF3IVF1LE2AA8TUSyyTkZbxRd5Hykg8FPoKfpMLnkBvTAA03Sd8M8qg4MIGBDTYhoj2xnH/CK3Op0Y3tyrqfF44m5hw399L/ANip+JdH4pmKzqkqdkrG6KVVlDBmXndr+q1e/kSG1urFu67ctudAJQefF2u0MFhb0ZZGNri9lMIubbC4qrHFileRzFFaRoiQsjswyAKbKYhc2A5+2ix4FDyQe1v91eDgcP0B7W/3VjAaPhc5d3kw+EfNYgMbkHndvi9zf7q+xGCMal3wnDlUbsz5QOWpOHsKNDgUP0Pe/wDurmbo9h3HaiVgdw2Yg89ibVqCAuH44vMhCYYII3UNC5kNlKkANkVVTW+UX17rGjLSVx+RYcPGxiVIkQMxCgKp7J3vta176bUGHSIN+iR5fFFOX+8bKn+KmToFBbka8zDvFBWkxMh/4UQO1yZW/dSyj941yeFy/wD2H9UUVveK3I3EW2lW4/NoyLciEP8AhFT9UHGVF6gm3bZ3cDv7Ivc/jWk4HofGgICK2b6QBtbzGm9dN0Kim7PV9VzzKttuV7Wtr7q8+LzId8WI0XRCBwB8YiNuTFBc2+i0Yt7a4xfwfQNa4gIH0bf6JD9gp6PwXpynceoGoZPgzblPfwK/xqnzMy7QOMTN5uh2DRrR9lzqDHOyADvJcBffV0fB/nGmJnb9Z4MQvsc02Yz4PHsQSp9VK3A/gxkjxbKzF1RQ4IOTVi9hfXQW5WNKviJdSjQyhfTIYugTIbB4JMx9F8GUzAC/pQgg2N9bmpeiXAZoZpmiX4uyOiHq5nUSBhmW3W3BF+Wlaf0T6OLA0hyrc5RcFmNu0fTcljvzrs8OSbE4hHAZbRix8EBGu9+1vvXTCVqybRk/TLjzxymPFpJGyWYP1MMmYHZiyqlxpb0jqKA/+q4QPksS4NtpOuiX2RZh7RWzzM5do7MsYLLcydYDZrWKuDobbHu8q7l6G4Oa/WQwyED0mw8eu9rMgU6DTltWWwCLwrioh4bC0kzQ9ZiZ8zRiIknU6dcyaa8hfbSq7YvhjkdfPjZ9O0ZY5HivuOygIB5U6cH6KK2G+LzRCxnmYKy3GRnJUj0gLp3699FH+DPANvAm2nZQWAtaxC3FUYEjP8T8NeCw46rDYIyZbAGyQKQNiAAWtYcwKrcR+FriYaNUwsOH64KUzBmJD2tqzAcx837KfH+B/AHZZVHcJWtzGx050YxfQyB5FlYyGRLZGLk2sVb7VF/XShdmS8B6R8T4meqadozoSS/VXGpYqERWNgNrkaimeHo7MMmUx5Rl60yGTNIAkYujo53IbtMCb8rAEm+F9DUw8olg1N5Q2cm9iHWwIGvata/LnU4kCgBiFOUCx0Om+lZPWzegibgJ5QweuSb/AG1wOjrHeODuuJJb2uTY9nXc+2jolU7MDpyINSXrDAiPo8AusOH0Gnak237u81xwHgjxYyN3EOjNlMSZcgIIAJZiWve1xa+txReTFILgsoPcSBXvDsQrTLlZWsRexBt7KxhqkOlB8fiQhtYu5Fwg3t3sToi+J8hc6VcxGIZtI9F5uf8ASDufE6frbUKkULcDnqSTck95J1J8T5DSigMqLhy7h5SHYG6qP0cfdlU+k31217gtFk/n30ORtavx/wA++iAr4lO0fX9lcMmlUukBYtEqu0eaUKSuW9jHIbdoEbgcq4/JL/8A2p/+T/2qAS6E19tRAVR4HjAXmj60ylHFict8hVfoAD9IJF23U91EFH2/fWMfL/PvrwDT2UP6Q4nq4b9YYrvGucEAgGRQ1swI9HNy5VxFwgsAy4vEMCLghoSD5HqqJghiUujjvQ/Y1LkWvjcc9ftonBA8eIVDNJIrxSGz5DYq0QFsqLydqDwttSsZE2fSus1QE71IDRRgrgjbigAuAInJAJttGBcXt307xy1n3CsYPyhKzFFAjsDnB3a3O30aak4tH/SJ++v41DkkZRYWxkto2INiAao8NnZs92c9twNrWBAGtrA+FUuKceiELnrY75bi7r3jxpc6CceiTBxxtIgcAMwZrN2rWOo1/hTck1ZqY8S/rH/D+FCoP0836sf+r8aQ+JdN8U+PljwbxvGijQ2KC2XMbll7VzarHDek+KbEPGwiEhXMbLmBAAsLLIT869h3UuSDSU30aE024r3RpGHltm05X9n/AJobgpgmMxJchVLIAToCerhsLnc60uTdMmySKCvWLdWIUkAWBbTw5nYd2hqvxnEGSKFpNWkxWHOoA1yw622HfXNP4tQcFH+51/so8TW2HMdKVLNv2jz+saI8PlvEpsNV7/Og3E3ORjv2u/U9qp+H8SXq4lzBXdLqjHKxygF7KRc5bi/nXonOMMMhzgac+dWHbKCzPYAXJNgB66H4S5kF7c9jVnGYQTI0ciKyOpVlLGxB3GgoDItgeNe5T3/ZVYYwC4uoKkA3awBNrC5G/hU2Zu5f3j+FKEgRAG0+kT7SSffelLGNC+PljbI7hFOUqGKjPJrqNL3H82psDdr10vyr+eSn6if55qCMDxhCuKXKsSoYn0VLMTmi3YG1vV30SIqKVfl0/s5P80NfYPiMcpbq3D5GKtbkw3B8daYxTweCvJOXWNh1mnY7XoJuTe+lvYe/T3DNEuNSMZQ5RTky2uvWb7WPPSreBW7zf2g/6UNcydnFIQL9i/naWP8AGsAasSdKB4ga0QxE3ZFB5JNaKAz2Ia0Si5ULhOtEoTpRALPTnETIYDDGX+XjuQwBGuW1jqbhm15WuaOA1U6RH9Ge6aD3uF++rVAYG8PQCfE2AHajOgA3iT7waIAb/wA86o4XTE4j9WE+6Qf6autMo3IrGB3SFQcO9wDbKdddnQ/ZeiOW2g0Aqh0gH5rN/ZufYL/dRA0TC9xWaZeIYQxoXVllVruFUfoyTsdQtzb52Ud1DwbNbuJFMPENJsKf61h7YZvwpana0rjukYe80khokrHevr1HfVq8D0AmeRcJDOTGshVSpGgvrpbw7JOvfyq3DwKYvIVkYIASB1YZzYEgFQ411Gg/EU+8IwSZ37CgA8hRzC4RASbDU/cKg4Rb6LxzyiqRj8fCHw6yMVnmYoVA+L9lS2XXMXIa1iPR9lE8LBMFUCKQ6R62b6OuhAOla3iFtEbC+lRQQLYGzA0zxqn9yXzXezEoOjWLeRmML3Z3a7C41ZrUzdH+B4+CVXRCrfSGTQHIG7JIBOUMP5vTnjeLRxk6ki51GY68xoLA+FU8D0pVnIAOnO58ORronbhT6OePBZOS7AsnRXiIkHUsnVyAGVZMpGfTOBZScu9henfB9HGlhQYjKsqzCRChZlVlZSulxmFlAsatcPgZ489vaTVqIuGXs6BvPauLJgxuUJV07X+GdHOTTTYt4/iIt1edc9lcrzylgM3dvyorgEPVobLcKNTYHUC9tNPVWfycfmJYHCqGBCqxcKxUa2PZ0F+V6sf+sceFCLgRlWy5jKTcCwuLJ667btkTQuF4ljiACVPZY6X8KMDHjXsvp9U6+VZ58H3H8RLjCs8ccYEZIyFib3W4N/VTpwPCSRCQSTGUvIzqe0cqG1l1J2ty01oBLOLw8UsZWSPOrMrFSDqylWBIGuhUH1CphxEFsuV/PKbVF8dUNqwBPeQO78PdXQxy/THdvWMcdZ2h50Jt+dzfqJ/nmqzNjAGHM39nnVOCdji5AUYDqkOcgZCc0hIBvv2v53qUJKUmkM1SIsQh+MIcx/RyaaW3i8L8/cK7wuBEZYgk5jfXx+7SusSPl0/s5Pthqcmqgsq8OW0k51/SDn/VxH7/AGW7q5xjZZ1a9rRt7pIakwR7cv66/wDTiFU+KljMF6tihgku+mUEtH2SCb6geO/nWfWgBZ8RdLnxv7TQxMSGsykFTqCNQQdQQe6g/SXijQ4Cca36tlQ8wW7A8x2t9xzvvVXocGXAYYMLEJbv5m3utUoZLGcaGzDmiUG1BuHy3ozBVyYL6Tegp7pID/z46tVV6VaQk9xiPsljNW23oBAmCxLnGSgxst403IOitMFOn0rnTcW1oRxvgQkxkcxjz5VsNTowsQbbaW50fU2xreOHT3SS/wC6iR3/AJ7qyQ8ZOLtA3jpb4rNlXMTG4ttupHP2+qpeE4p5IlZ4zESPRLK2lhY3XTXuqfEJmRh3gj2qRUPCHzYeE98UZ/wLRFIOLmzYc92IT3pKv+qlLiU1sRMO6U+/Wm3jg7MR7p4D/wAxV++s/wCkExXG4of1kbe1E/GkyDwDGftnyqLrajWX5QeK/dVdpNaSwjJ0XlDGa6jRwB7PFR99NWFXuC+z+FZ7wbESASmzrd/nnuAFxdRpTRwjiyql5HN79/LTxqk1UmcsJ2th/icJaFlvlJFr+o99VcOAI1BNyFG/lQji/TKJU0NzfvHdQJumrPHaJVzDZTcXH1SDa/gazvjQeSsv4jhUKSPJrdjfc28tOVVOAOhD2tpKw0AG23L1UkcZ6ZTAN2VUjkxC+7Q1U6PdI5LODIt7l9FvvvuNam1J7GTSTP0LwEgwg3vcn7a6wTEGW4t2jbx1bWkDoN0neQKtz7LU5xuQJAOZJ18bny51XhfZuQj43DqDmubnKLbjS+1+f4UwYXDRlBo17Dw5DvqtiMKhWxvf6h1J15be8Vcw+AkGWwJAFrWC3211JPqrpkk1s542noiThKu5UAAFCDyJB0IuPOq2B4CgQCNTkTsABn0tbTcGu8TxIxMbix7ufv2oeOk5DG2i8h30qw30U+ZXZZPB4w12BBHi33mvfyPC2W65srZ1ub2YbEX511gulha+Zb+FGoVV9SgAPdp/CpyxOI8ciZBh1uRpVPEcYK4nKgR9BGR1qKwZS5ICk3Y2ddOV6KrgBurke8fdSZx/ojE0pfqhKys0mj5CGcksfMkEnzqCg09FHJF3jHGocPiIpsU/UXR1XMxIbVL2VbgWuNfKvm+EXh9v/lR/4vwpP4z0Kw+IaNXD4ewY3DFy1yosc97c9qEz/BbhwxCzS6G1yqkbE8vKnqgckP8AwHpLFiJp/iny5GVmbMygAgACzC26nUCrs3GwZ8rdWjIrIV61WbM5jKgqNVuEO+9Z9wn4PQplKfK2Krv1ZvYE6Abaj2UT4b8HYXFx9ojOwYgMSDkKtZtrjbv2oJM3JDbxWxjOgNxz1Hvpe4FxbIgUKoFz2F0G+6DYH6ugPKx0Lpxfo1IRZQD5Nb7aRsd0cmS4ysKnlxXtdjKVdjfwzEK1mQ5lP3Gxv5HQ93O1MeGOn8+NZXw7EyxPmBAfnmJCyW5Np2WtoJBqNiGG2h8A40k6m11dbB0bRkJ2DDuPJhdW5Ghiy2+MtP8AnQZR9XRS6fcQ6nByvlZrLsqk2IOYFreivZ1bler2DxvWxrIFZQ4DAMLEX11FRdLB+aT3/onPsW/3VOkdlAUWAAAGugGgroEKTj88Xxw7e6RP91X8/wB1L2M61cdETKgQpLoVscg6osuYnU3s19LBT30fQXI8QPvrBPU1t6qpdHz+aQeESD2KB91W0NwQCLi3jY8rig3RKGZcOBNKr7hQqZMoVmUi9zm1G+lEx90vx5iw+YLm+Vh0vY/pUbS+l9LC/MikLpZPmxk7ZWTNHC+VxZl7KaEXNiLVoPSSNWw0uYA5RnF+RXUGs9+EviXVcSNwLPCl9AdLuOflyNTy9Dw7Lkc3bi8Url5NT51SwnFYnyWIBXYXIJH6ramiLQITe7a6+j/GpKSKUwDPxJUUhJG7zZQtz33zMT7BXuHZXFy7E+Lfwq7iuFwRqcsbse92NvYgS3tNLZx2ViOyB5ffv769t4F3R898yXQ3wcOh6slpO0B5n7SBQDGM2Y5GGX6zX9y3qjFx8E5LljroBz5ab0NeafnaMd7sqe5jmPqFc+THR04m34GlRMSpSdu0NBIq2YeBJ9IeNqlTo+uGszA5W0Dk3U37ioAvSrK6Xu85Y90ak/4nK/YaO9Hem3UKYGiaXDOflI5GDEj6pygLrrty5b0kMey7ujR+jOHSJRJEA621yksw9WppnfpFEgAbRm2BIHupDkxhy9ZgH+RNs0QAV1J+ZlGrfzq1WcFho8UihgwXUlrqpjPIHMb28r11LBFK2Q+bK6Q4xcQCm5FjvYD7z+FccR6Y5LC6tfla/v0FCIsE5BUsSiiwksVv6zq3nUGE4Kj5mDBgOQP30jhG9lVJ1oN4fFx4n0gb21/hXX5BiZdAQO/+NQ8LnSK5IVeyNtTfnqeXqFVcV0qDEgX3HMX3GmvPXalad0jJ62X24R1Y7HdyGt/OoMfxlhoEY230NVYukThspve9rc791W4OIBz2gF5k3t7b6UGn6NrwHvxWYjUNl7l5+vlVjg+Id5SuXSwPMnc7++iUePgzWkZbcmsQP3hv9lVMbw+SbMI50Kj5sRuD5gan30v7AKnFWgWVWLXZb9lNTc2tdthax796hk4pGW1iUag2vck/yaoT4CVCQLADuHaHnmoVNhpEzHS+5Jt916KxoVzfg6wcQS7ErlzEHQg30HK3h31Y4bOHxkZUjKqte47QJy2ty/8AFJPCzKzWSzD5xHor45vDe1OvQoR9a2T5R9i52HeFH3mhKKitBjJyaseMQmlKnFF10NNmIGlKfFsRlJ76hAvkBGImSLWSzE7IdfWb7ChJxoLhkfJIuiuoHZG+Urs8Z5qfMWOtW8XDE7FnW5O5DH7K4XhKSWWJih7itx7R9tqjnwPIt/s12hsWRRLeM6TAw5cQsYLHI6iSy9WRZnVj6Q7l9LW24uVDgnTjhsxcSxywZbWzyTyZr3vYITa1hv31a4hwZgWXPG7KdVV1JuPqtY3oWmC6pSWiKA8ypF+7QikXOKqW2VuLeiPpZ05hwrxNw9UdisgdpEmNgclgOsI3sb2HIUG/96uId0P92f8AdV3iEEb5cwB3sR945V4OBQkXCKL/AFb0ryNeDcQSfhZxt2IWFS5uxWO2Y8ide166PdEel2FlWQ4+IdZmuvVwXBBuWuF55u/vqtwTo5DLiljdBlJIOlr9liOemoG1TYzBLh55Y1ijZQ9hcG9rAjtKQedUhclaQkvp7LvF+muAjkjEWBWRWPaZ4+rK6gaDKc2hJ5bUM6d4xMZMkqSRkqhQqMy3AkkKWzgXOQi4vveucY8JALRMtuatcexlJ99UuJwQ9gq7C4v2kH2qx+yjOE6NGcbAqxkC23hy9m1Sh27z/PrqycLcDLJG37Vj7GtXvxGTuHtX8alw+w/IcOMQRj05ifCJGa//APSZlHsQ0icTxCBzlU25B2zfYFX3VHLxiRn1YnXnrXHEptBprbewr6RyUou/DxoY3GatER45IBYEKNNEsg7tQtgfXVEKGJJaw9/sol0e4A2KZlUqCANWJ01HIDX2irE8WFgbKyyzyDe5ESf4SzH2ivPlbO7S6BdktZQzMe/8BRLDdH5dGlyQKdbzNkuPBfSPqFeP0gkGkQSBe6Jcp9bm7n21Ti1a51JOpOt/bRh2JJ0h16O4/D4WQPHJNNKOUYEMRHczPmZ18MorReG4iOdRJaOGQnUKBqe4yFSdfGsiwjqo9G9OHB2Z4rLZAea3v7TXpPCnG29nnrM1Kq0WuL4qaHEkSAjMey4JZfAFu7voxBwq0XWJZZCO2Va6H1t6VXOEY8yZcO4z2HpvZ28N9PdTT+QkWE5mbJubWzeNuQrjyZOLqR1Y4WrRng4VNJfZcoB1vlPr3BqSFCWDzSrHuq6G/cdPI6Wub+VHeK4781LQxRxqFaxN5HOUqo1IspsSb2NrDzpLxOJfsqLHMobMQLkbkEWtztpYeFJGXNjtKIYaGNW+SZmAFsx0bkTYb8+dqikmFrg37ybFTyFhbfxqDh2EMpyaKbHbY28LaUSgwllcsTZOybWNzpYAEWt4+6n6F7KEnEmCkING0zG178/5FDmnljPyburHmL3NtdR3fjRyyqRmQEG/okgj1m96ji4YM4FgSxyrckWJNgb2O3l7aZNIVplPBdMJlsuICSr9ZbE38RoO7QUV4lFhigaTrIA+hQspNjva9yB5n2VaxuCjwJRQolxDAlXcdiPvKr36fx5Ui8XjeWRi8hY8ydPHS3LwqMmpO0PFuCaew5xrDs8XVQELCAMojN7jvYGxa/spt+C7D2U6fz5VkOAndZFAdhqdibHuuNjW19DOLhcOHdb6gdka6kAc6nO+AcdOdjtJsaSuPvbNTte4pF6ZCxNc+Ls6cvQjYziBzVe4nxz4hhht8Ym0QfRHNj5X9pHca84DgFZmnfUR6geIBN/551nHHONNiZ2lbS/oj6K7qPx8Sa6JM5Y62Sz4pjcn131ueZqfBdIZY1ASV18Axy/unT3ULGI0N6iVwRppU3bGTSDUnSc3BeKKTvOXqyd+aW+yrUHH8G2/XQnwIkX32NKsj7V4jAMGIvblU3BPsqpvw0TgmHQYiJ0xCNZrhSrKzAgiw5X176o9KZcmMkP0greqwU+9aH8IxN8RCRfV095FHOkckQmHWQh7oO1mZWFi2lxy9VNGHHoLlyWxcxON7B22oRicQpVTtTTHwWCckRtLGTyYK6+0EGgnHOjUkEYLMjDwuD7LffTSToVfqBjJXPXCoSCa96pvD2/wqLRRH//Z"/>
          <p:cNvSpPr>
            <a:spLocks noChangeAspect="1" noChangeArrowheads="1"/>
          </p:cNvSpPr>
          <p:nvPr/>
        </p:nvSpPr>
        <p:spPr bwMode="auto">
          <a:xfrm>
            <a:off x="1949450" y="-712788"/>
            <a:ext cx="2533650" cy="1809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latinLnBrk="0"/>
            <a:endParaRPr lang="en-US" sz="2400">
              <a:solidFill>
                <a:srgbClr val="292929"/>
              </a:solidFill>
              <a:latin typeface="Segoe UI"/>
            </a:endParaRPr>
          </a:p>
        </p:txBody>
      </p:sp>
      <p:sp>
        <p:nvSpPr>
          <p:cNvPr id="9" name="AutoShape 10" descr="data:image/jpg;base64,/9j/4AAQSkZJRgABAQAAAQABAAD/2wCEAAkGBhQSERUUExQWFRUWGBoYGBgYGBkYGhkaHBwWFxcdHhgaHSYgGB0lGhgZHy8gJicpLCwsFx8xNTAqNSYrLCkBCQoKDgwOGg8PGiwkHyQsLCwpLCwpLC0sLCwsLCwsLCkpLCwsLCwpLCwsLCwsLCwsLCwsLCwsLCwsLCwsLCwsLP/AABEIAL4BCgMBIgACEQEDEQH/xAAcAAACAwEBAQEAAAAAAAAAAAAFBgMEBwIBAAj/xABNEAACAQIEAgYECQgIBQQDAAABAgMAEQQSITEFQQYTIlFhcTKBkaEHFCNCUmKxwdEVJDNygpLh8FNjc5OissLSQ6Oz0/EWFzRURGWD/8QAGgEAAwEBAQEAAAAAAAAAAAAAAQIDAAQFBv/EACkRAAICAgMAAAUDBQAAAAAAAAABAhEDIRIxQQQTImFxUYHwFEKRsdH/2gAMAwEAAhEDEQA/AMRsD4ef40XxHYw1uZVF/eJmb3CIUHhjzMBtcgUW4xjfQWwIIMhU62zkZR4WiWPasYDVNhYszgHQcz3Dcn2V6yKR2TY/RP3N+NvXVvhuHtcsN9LfVFi3tOVf2jWY0avYYSXq4nZkLLcEWBDC40GbeMKm4HMb60tu4Ddi9j37+I0386Icaxp6wKrH5O4uNLufTPt0/ZoTTN+E0rbk/QlhJL78vef4X9rVJPiVkNn5DRxv4XHzh7wLa8qHJNYWFcl61g47L85uAJe0NklXU2HL6wHcbMPDaqsODZ3CJZiTpbbz8BX2HZvRW5zaZd7nlp3+NPHAejxiAUDNM9gba/sjw+2pylRRKwn0L6NqZI4htfNI3Mhd/LkB51rQiAACiwGgA5UJ6NdHFwyXOsrDtHu52H486NUsV+pmyG1eZanyVwUpxTgCvq7tUbSW8axjosALnas06a9KpMU4wmBYm9+tZdAR3Z/mr3nn40X6XxST9jrxDEp+Wa/ZC8l8WJ5a+VLmDzSq0HDk6nDr+mxT6FhzOY7e38KpGNojOdOhaikhwpC4VRicUTbrLXSM/wBWh9M/XOgtsa5wcatNnmz43EsbiMEut/rP8+3h2Rbc7Vd4zwNYEzxmT4swytKIyGmb5wUnaO9rE2XwY6UL4bxFwwjhHVBtAF7RJ5ZiR8p5EZQdgKZKpGbuJoQUdWr8SnVY7djCQnRvA5TeTyWy/WO1GjxB3TJJInC8IqX6sFFxTx3+iNIFJ8L+HOljo98nN+aQnF4sgZ8RMbLE/MFjdRpyU30sSeTJwzgcUk5d0HFcbcZioC4WEgWVXkN1IX6IDH6vOjIESXhOIllRo+FQLhcJa74ue65rXu4JOeQ63zE201NtKk4F0cWKRxg4TiMQpIkx2LBEaEE5hGh1cg3HZAGmrUZlw6yyZMQTxCdLWwsIy4SE8s9zluO+Qs3cld8cKlkGLZ52JCDBYY2izm1hJIctx2k0kZRropvakKguCBDMWhDcSxYNjiJCBBCe5WHYS30Ywzd5qljIVeW0hbiWKU/oYwFw0J+tfsDzcknkBR7HQM9oZ2ygDs4DA75eQllGUhf7tPE1HNgiiiFrYdPm4PB6yEf1koAy355co+uaZE5CzjIi06DEymaVWUrhcKD1ceo1kbQmw5sQNNjS7h+HBZtQwtKfQuT6RFgRy+69NfGcQuHQx9nDJv1GHs0zeLyfNvzP+KqcOAujsoK9pyLHUdo217/xroSq/wAEb5V9mFcA3UJZeqwMZPK0k7/aL/vmi+AlC9uKMKeeJxRLP6lJuPIlB4Un8MNnZgApzEGSQ5mOp2uftv5U04GRbhrZmHzpNbeS8vdRcVQim2wxFh+t7RD4kjUNL8nCp7wlrHzCn9ap+GKTn6xhISb2i7KakgAkG7aKNydhQDiXTnCxD5WTrCPmjUewdmkfjHwuS3kaA2RzlA7JyZFXY+Oa/q0pODKKS8NdxvFUhTtOkKdy2Hv5+oUuN08wQNs9/GxrIoIuIcQbsK7Zj6Rvr+0d/wBkXot/7Q43nMgPMGQ3B53ub06hFd/8M5Sf8sUsR0SV9YJNT8x9DqbaNz9nroT0gwzpO4ZSouQtx81eytjseyBtTZwrHZWv3KxIKg8uzuPpldd6vrPnARgJAbDKwv4c6SWKMnrRDH8ROCXPZmYF6Y8PKYYy1gwQDLzBOoBHd2sxN7aKKK9K+GQZlSNArjKgKiwNhqTbQkD16amhnGuHzIkRS+RtgpOYltALfO7NhpffXeoODizujmU40vR06LcAwk+AVGWObUszLpIjNa923BFrcgQBpS9x/wCC6WO74YmZBrlNhIPVs/qsfCk/C4ySF8yM0brzBKkeH8Ka4vhRxHUNGyqzsMvWDskA6E2Gma17EWseVLoamuhMZbaGvKsTxpbMjHxVvSHkRow8dD4Ub6K8GDnrXF1U9kd5HPyH2+VI3Q6CPRbgRjyyOLyN6C81B8PpH+d62Pot0Y6heskF5mH7gPLz76q9Dei+S08w7ZHYU/NHefrfZ9jflpUr2wt+EJSvClqsdXXYiqgpTNem1Aem/HXw8doBeQEFjlzrGuoBkUEHXkNL235HFsbJjsVKRiMQxRQHZnktEFJ0IUWGtiAAL30tW4urF5K6NY4z8IeGgnSAFpXZgG6sZsl++3pH6o1t7Kk4zx5I1u7MitoqqLzzHYBFH6NSdLnXyrIhikiQjC/JR7PinHysnesaj0R4LrtmK0Q6OcQEJBGTDqbHr5rvMQDcFEG2uo2H62t2jFCybSHTiPAmmMZxYKRX/NsFCp6yQmxOc7A23JNhzNqJ4iJI+rjxKCSTeHh+HF0XuZvp25u/ZFtjvU/CsUqQmVCYIW7UuLxJ+XmOoHVofR30LWUckN6qycPkALITg8NLYGaRS2MxDWJORD8o+bSwI01sttaf7CVZQ43KHITGEyu36PA4a5C20Gdh6RHfootzFJeP4HLAxiZFRsoJQMGJB1s7KdT9QWF+RrSMPw9cOMqq2EEnzR8rxDE+JIv1Q9tvq1Bj+DqQIurWFtWjw8a9diXYiwaV79kd5Jt9bS1UjT7JytdC30XcTRdXIJpBHvh4nWNZbkBSwuosNiAQO++1P8JNlglbKAOzw/ADUDl1swy5F79Y18WpOl4K+HkEyrYqbOvjsQfA7edPXBYQY1SHMsLDMIsNH1Jb6RmxJOhvcHKVY2+dQyRobGyyiEAQEiBQNMFgtZLH+lnFurB8Mg+u1ccX4Wow4jMKqiywuuHw75HDdYgzvPoAwvm5ElbZjejWBw6qmSMKqjUpB2UvzzzaFj3kWPfeg3SvEsYXijyhApzKg0ZiMyqGO59Ek6Dtr41EsghhoBGvVqBEL6w4ftSE/wBZMdieZ0P1jQ3iEhUFE+THOODVz+vMdj7D4mlfhvSHGxwrGYZTYa9uDtHmSc4Jvuaml6RTsuVsNKB3K2HX7JRTQkk9iyg2tAHpG2RSDliHNU7TnxZu/wAaO9GQHwTMPok+vq1b7SaC8Twkbo7yYWfIgzHLJHm0DFiMsttANeeotRDgePMEHVx4WcRkABSY3axXfMZNrG2/KqTyqT0TxYXC2zPMd0yaKaUAC4kcD9420GvvFUjx/GYs5Ezvc+io09g0Hrp0k6KYRpDI+BxjMTc3KEE+Qko6nGfi8eTDYSeEC/oRKpJO/aDFh+zapwfFFpwUn0JWF+DDEsV+NOIQwvZiWblayKCSTfSwOxpuwfQfA4IB8QRf5pxb9UD3ZMMl5ZdzoctMnA+jryQJNLizhYpALpCqxTMdm6zENeQtcHRctFuCwYCHt4LD9dIwv1oBdz4tPJdveabm/AcV6C4Jp5xlw2FmkQ/Ol/McN59Wvy8o8Gvepx0Ox3/6tfAYJiB4Al7nzpkw3EpWmVZXiiNi3VBg0hA3J8PGwq+eNRfSpbkFJH5iGJQRsWFiWVNLD6TnvB1VavcIky/Khgch0Vri55bE21I1F/KuMD0KxGIBjV0RlVXCyAjPmGW4I30jve3zqo8a6PY3DIFeF0A+ctmjI3HaXQc97VSOTVs5J/D26R6+IE0+ZjlCaFtx3sbi3fvpRjAQ9diC4IaOHRe4udT5gDl4+JpR4XxYwoxCtmIsD9b8L/ZTX0cwyGJerY5h6TocpLHU5la4bf5wPqoKVjuHFBHifBocRpLGM22bZvUw+w9kd1KfFPg8kXtQMJF+iSA3qPot5nL5Uz8Z4lLh4iSqy8l0KsCdrrqCO8gjwFRDiEiwhyvbK3yqdL+Z/jUpyQ+KMvDOYuFSGURFGV76hgQR4kHYW1rc+gPRJciSuOwnZjXvI3Y+v33pa6NcDedhpeWTV25IvcPqj3mtgwuGWNFRRZVAA8hUV9TOrpHuSpEFdqtVuMcXiwkLTTNlRfWSeSqPnMe77qoKWndUUs5CqouSTYADcknQCkXHfCIuIYphnEcIIV8S2UGx0PVK+/6x8wG2rPum3TOfinZiNsONeoXR7jnIv/Et9W6juBoR0eQqc73sPRfQhGGotHvIdtARbe4q2PHb2QyzaWjZeG4xYYsrDqcNs2YZp8Q537Ju2u1zdzyAFjS/xb4PklvJCmW9rYVzq43DWGwAt2QdxuNqLYHBzwKkkgJQi/XuGeSzADLHHlvHew0Itto1FIcUQypGWUuNUBJxEh1v1jaiIXA57E6ptVGnEipJmN8d4G8UhKqXe+XtgDqu4LGQBYa6kAD6ItmoFHhcrdY5LPe4BJNzfe+7er94VvWO4CMXZp8gKgX6u3VRrcEiSY/pWO2Ud+t9DSn0o+DRms8O9uyNQjC5PZB9DU3tsb+N6RJMo5SoEdC+lq9cGkKBx6M04aYpytBh10zdx38TsdVw82QhiZEaQenL8rjJtCB1cC9mBRmPKwvqg1NYDLw50c+lHKp15Nfz5ef/AJp96BdNFUGGU9WTbMQwiz/2uJYmV/BUA9lGcGDHlXQ9T8LZSRGHjL2zdX8rjJdFJ62duxABmHM/VI2qDA4UAMqgIt7ukLEC/Pr8Y3aY94XXzo0ljFlQKFYaDJkTWxuIv0kp03awProVxjDkEEm9vRzAWXbRYh2VI7zrQgr0bI62ibD4aI2WyZCMvYUJEBroGY5pGJPpAeyhHE2/J75JLGJmBUsLrfYEi4v9FhfexqljulcMJJd7t4nM34J7vOuY+luF4xg58JLIsM0YzQuxvm5C3NjfssouSCCLnajXHsnF81odMLx+Jo1kdwFsLdYV08BEhygjbUk1QxC9YuMuSSBLv3ZEK6ctD7qQ+hnQbGjErLi+xFEQQhPacj0dN8t9dbXy+NaabBHB5owPrRR91Rkl4dGO62LOGF1U+A+yk74R8OzGAqCdJAbA/wBWRsKdMEziNBYegtwbgg2Fxa3fVhZn7h7f4VFaZZoTOgUJ+JSIwIJeQWIOzInf66JSOfiCsCVPUQsSpIPzCbEajS4phuzEXtbbfy8KVcXA78JyoVB+LWOYE6IpzDTnpoeRrBQWbgQB/S4j++f7zQXjEow0sK9ZiWLtlKkvIpVkkUa2tcPlO97C9MXDMM6wRq5BYIoJAsNAOVV+NrZYifmzxH2sE/1VqMAOj3GXMeGijwBxkxRC0kmZ0QZypsALD0bkkjXXWm7EcI4pOv5xiFw0Zzjq49DYkBBaM9oW+uD9gv8AwXyNHgTGQQVnmUXBGmYlT5Eaij2KUsrk6kN7gRaqxEasDcF4FHhbxxr825Y+kx1uSeev20PeMgnfemiYBZb960BmiOZvM/bVExaMPg6cPHO0clnw4YqMy5njXbMh3GozWvamDG/CM2HWIYaYYga5y6ta2lhdgDcCswSZibd+w3HlaiE0dktk0PZUg22sWOvIk/bUE/EUpdseIul/C8acuMwvUSH/AIsR08yy2PuavOK4+PhyBsLio8TGXy9UwUuOZ+UjIOmnpDmKzsYVSNHF+5tPY2xrh8E4Ga117x2h7RtR5MVxTNIwvTbC4tepkDQM9gT6S7i/aUXsR9WtAx3RGCaFBh3GgAUrZlPsOnt0rLPg/wCibTr1iLnc5rcgijQ6nmTpWzdGuADCprrI3pHu+qPAd/Opt8uxopR6LXAeDLhY8g1Y+k3efwHIUVU1yhrnEYyKLL1kiR5zlXOwW53sLnU0yM2WVsN6RfhO6OJjYld8UcOsNyubWMk7kgWa9tAQTpy1NHulvGRDF1aXkxEg+SiT0zqO1sQqDcs2mlqWcH0dkZ1m4iwxDixWFTaKM8rg9mQ+ZGvI08UTk/EZnHwCZE62WHPCAGSYXQE3y3LmxCaE2YAnS1i16O8E40olSSy4gxtrJaxTW9urIswuDqRfXTLudKxPS2NSUQCSS2qnsog2sQdWO+gvtyoJF8G3xomT/wCMScwdBk137MY0Hnp5mh/WwhkUO39vPyM/gsk8fPpff38Gi8C6TQ4pLqRfmD+HKo+MdHs93iNm3y3Ko5FrZslma1tr2rKpMLicFMy3XE5RmLQG8irewLLv3XLADXemXgXwgidcqy3NuWjjzU7+Y9tdLxV9UGc0cnJcZrZf4fxESNkcZZI9BdVJTtakQC8cFh85zm02NX+GqqyS3tdyhZuszl+yoGaQi/K2RBbTek7ifBHjUywG9rtbdL9+Q3Ct9a1TcNV8QpkM8qscoYWiIBCITYtGWtrzN6lOltD4+TdMa+kHQrD41e0MkoHZcCxHmO7wNYj056Hz4Jh1gtr2ZF2PkeXlTfxjjJw86wmXEEvlIIENu0cv9FRcYeTrJA2IlKqikC0RtfrL7x6+gN6EczS4+BlhTfL0zjon8KkuDBjkXrE7gcuveSBmb1k0Sm6Q8Q4oGEMTImmVh8nGuvbzOSBse/1U6wwTEBgZ7EAjXCDcXHzK5R7uUdsY2hBSIx57jqTo0SqVBEgu2YWAOorKewvEq0J+E+DeGIr8exJeQ6iGK9yBqbDKZH05pGR40/dHej8kYBweETCp/S4jsMR39WpMr+TSRDvWrvB0hiB+LRRRFgCSbPNm1zZghZm0tqWve9EcMrSy3ZWZQLsztZQeQWMaHX6WosaLlaBxpnrxOtw8nWNckuEVAT4KvIDTUk6b10sV/Kp5F19v31aiiBIHj/v/AApCoocKQmGP9VfsFWurqpwqE9Ump2t7LirfxU+NTHOWS1vOgmHwx+JshBHYnWx7s0gX2i3to5JAdNTvVHAKXVgxJtLOnqDvlHqWwomJOHnNFGe9EPtUGq3SOO2HLH5rxN7JYz91WeA64WD+yj/ygVD0pwSSYWXOoYojMtxsQL3HsrGCXwcT5/jYLFsmLNje/ZYXWx7rWtTRjH7Mo8QaS+gxEWIx0aAKvWRMoGgA6pbWHdpTNNMTcnnv76eKFZxO9yD4fdXJhBqCSbRf55V51pqgp+XuFwM0m1yov432G/ifdXHEZlLWBNl0G1jbc6HvvWmS/B1xHD4WTMnWuTZQwaSy7Hky2tfQkC58r55xHCNG4SeARMdytxp32BYeoAVHjRRuwaYDrazW1Nqk4fg3lkCRi7H1WHMk8hV/hIgXGJ1knyIk1cqSLfSy2v6rVt/COikEjjEIyvDIt1ZVKlxfncA2pWYt/Bxw3qMEqZTfMxLkavc3v5XJA8qZcRjI4lzSyJGve7BR7WIqtxLE9Th5JBlHVxswzXCDKpIvbYacq/M/FOJzY2ZpZWLu3M+io7hyVR3VkA2LpV8LGRur4cIpyp7bk3XTXKiggt+uDbuvvWY8W4jPjZ+uxZcufQQdkIvcAdI0HffxN96u8B6BzzxGWCMyFTY5SufYG6xscwH18p8Ad6sYhsXh1yzI6LYgwyxl1IHP5TtA8+QHKw2dIVs74Fx5oQXjlOc9ljlJQRqLgasGbc6tYDuo0nwipKQsrFVtoUuBzU52FmJy7iwGtKv5YwsoCzYQoBoHgkKkeJR7qx9Yr38h4WW3UY1AT8zEK0Lf3gzR+u4p5RUk1Imm4tSibLwvivDliV1JxMmiqoTM1zf0VGijQ9okW76JjgeNxIJllOGhOohR88pHc0/zARyXN58qwPE9HsZhu2EkAGueI9YvnnjJHrNWOj3wl8SgYRwSM9zohXP59nc0kcUMSqCHllyZnc3Z+kOF4WHCJlSIQruWGoJ72f0ifFqV+mPR/hmKe2VvjW4bCfpb8i2Xsnzb2ig3BOl0+Jt+UVZFIFo8O2UsdjmRLuR4CS/1a0bhvC4BGpgTqVIuAq5D+0pFifMGm62xdvSMyfgXFsKg7HxuEi1w6x4mPkC1syv36ZzRHo/nEbZl1L30BUHsR6gMAbXvyG2wpwx/E5IiQyxqNg7sFJ8owSWPkR5Us4GXNJiCzE3nbWxF+zHyOo8jSydoaPZ5iODxSuHeFWYWsSdRbUc++o5g2ebKBfqksCbD/wDItcgGioK959hqlYdZIb3uiC2txYzWPkbkfsmkoc74KG+LQ57Z+rTNba+UUNj6NxYjFtE5eONs+cxt1ZJK4VgpYbBiG89aL8LN4Yv7NP8AKKF4fiqw41nnURxgut3ZbNmjhHIm17DfvrJGY68O6JYXCxdXBCqKdTa5JPeSblj4mr0OGypb+fClLBcawXFHGFilnPUnrGCsyqVVhdH17Sn0bHW21OmJewp99CqnsHvDdlHeD91WOoCkef25r/bVET2cHuP4VZknvbzFYIucPj7OuvacekBs7Ab+AtU8kmlhoPMH7qh4thkGBlkYspR37SAFwOvu2UEgXIJHrr3gOFgkifKzOA11eT07FUOUnnYn325UAkDxkfOJ15+Xuqhw9spmNicuIkNhuboj6eJze+izwKOQ3H2ih+BUdbiARtOh/eghFYxS6GY1pcKuaJo8haPtW1ysV2B0Olj43teinE4c0Eo743HtU1Hwdo0jZbop6yW4uAb9Y419QHsFWMY4ZCqSohPM5W89Caxgb0e4gxxUqFrqIMO6DTTMDm8TcjnTBJJr6qSui6smJTO+cvgYjewG0klhYfRVgt+dr01yS1SIrInfsjzqYT1SMmnrr7rKcBgeC6e42C3U4qVAosFDsV/da4qt0l6Y4rHsjYqTrDGCF7KrYGxPogX2G9WJ+BkaNhJAf6uUW9jKx99VH4VGPSGIjPjEHH7wZfsqLb9GVeAkmiXDek2Kw9upxEsYHJXYD929vdXP5NjvpPH5MJEP+Qj311HwNibgo6/UljJPqJuPZSDHv5RnlLh5pSrnNIC5sTvdgTbfmanjnyABSFU65iCC2nzdAT+tpuNqJPwiCxv8chHLPAHQebIwv52pdxy/KMFcSAGwa1rj9U6jyogLSYxl1QOu92Vrk763t3Hvo5gvhDxqIY1xshQi2WYdYPVnD291KdiPmke0UT4RgHxBIDHsi5Bs+nm1lX9phRTBRZXiL7mOKa2pIADe2Ig+0V58VjmXN1ckI+mzKY/a2Uk+AJNGMH0dhjZDI6DMwHyWXEycj2QvydwCDZVY+NamOg0RVZMO0OY65sSsgmUW1tdiF1+aqp5im2DRnfQPoQJp0yTZzckZG6obXNwwzsLbgAc60HHdGo8IrkxShdc10OVydrdXnllOoF2sRvc0J4D0ZUrLJiXd8uJkS6GRcxUkahGLZb3NrnU63p7h4y4jCJcIAR2zlsBtqbNR6QrdsSIMBjcQD1MZgVgP0hGHBtztGWna/czjenropgp8MPl8U8ulhHkVI156HtMT4lvOhMvSGIWBxCM2vYiHWliNxm325aHSvuH9IcRthsFI5bTNiGKAHbUG7AeWl+6pyu9Dx62MHE+keChcyNKiy3CEpZ3vYkKct7DfewoJwvELMZpEBAeVm7Wh1VDe3LlprUEXwdYyV3bFYtGV9ciRKMuoNgx1A3Fh399VsfwaaHDTxYYP1iy2jIKqcoEYJu+hFgeevfRdUZJp7D5iPK3toabCeUn+ijOgvs2I7tTV6CIZFDatlAba+awzbeNV40HXubadXH/nnoBOeATh8NCwvYxpa4IPogbGok4VBicYIsRGJEY3sTYXEatqBv6I9ldcLxJWGNRBL2UUHKq2uB2rHNrreqsHCJZcYhBnjDyAks2UqqoxcLkN1BAyb/O50EE0HhnBIMMCIIY4gd8ihb+dt66xW1Wm2odjGooDKNhm9Y+6pwdPLX/Kaqs4UF3IVF1LE2AA8TUSyyTkZbxRd5Hykg8FPoKfpMLnkBvTAA03Sd8M8qg4MIGBDTYhoj2xnH/CK3Op0Y3tyrqfF44m5hw399L/ANip+JdH4pmKzqkqdkrG6KVVlDBmXndr+q1e/kSG1urFu67ctudAJQefF2u0MFhb0ZZGNri9lMIubbC4qrHFileRzFFaRoiQsjswyAKbKYhc2A5+2ix4FDyQe1v91eDgcP0B7W/3VjAaPhc5d3kw+EfNYgMbkHndvi9zf7q+xGCMal3wnDlUbsz5QOWpOHsKNDgUP0Pe/wDurmbo9h3HaiVgdw2Yg89ibVqCAuH44vMhCYYII3UNC5kNlKkANkVVTW+UX17rGjLSVx+RYcPGxiVIkQMxCgKp7J3vta176bUGHSIN+iR5fFFOX+8bKn+KmToFBbka8zDvFBWkxMh/4UQO1yZW/dSyj941yeFy/wD2H9UUVveK3I3EW2lW4/NoyLciEP8AhFT9UHGVF6gm3bZ3cDv7Ivc/jWk4HofGgICK2b6QBtbzGm9dN0Kim7PV9VzzKttuV7Wtr7q8+LzId8WI0XRCBwB8YiNuTFBc2+i0Yt7a4xfwfQNa4gIH0bf6JD9gp6PwXpynceoGoZPgzblPfwK/xqnzMy7QOMTN5uh2DRrR9lzqDHOyADvJcBffV0fB/nGmJnb9Z4MQvsc02Yz4PHsQSp9VK3A/gxkjxbKzF1RQ4IOTVi9hfXQW5WNKviJdSjQyhfTIYugTIbB4JMx9F8GUzAC/pQgg2N9bmpeiXAZoZpmiX4uyOiHq5nUSBhmW3W3BF+Wlaf0T6OLA0hyrc5RcFmNu0fTcljvzrs8OSbE4hHAZbRix8EBGu9+1vvXTCVqybRk/TLjzxymPFpJGyWYP1MMmYHZiyqlxpb0jqKA/+q4QPksS4NtpOuiX2RZh7RWzzM5do7MsYLLcydYDZrWKuDobbHu8q7l6G4Oa/WQwyED0mw8eu9rMgU6DTltWWwCLwrioh4bC0kzQ9ZiZ8zRiIknU6dcyaa8hfbSq7YvhjkdfPjZ9O0ZY5HivuOygIB5U6cH6KK2G+LzRCxnmYKy3GRnJUj0gLp3699FH+DPANvAm2nZQWAtaxC3FUYEjP8T8NeCw46rDYIyZbAGyQKQNiAAWtYcwKrcR+FriYaNUwsOH64KUzBmJD2tqzAcx837KfH+B/AHZZVHcJWtzGx050YxfQyB5FlYyGRLZGLk2sVb7VF/XShdmS8B6R8T4meqadozoSS/VXGpYqERWNgNrkaimeHo7MMmUx5Rl60yGTNIAkYujo53IbtMCb8rAEm+F9DUw8olg1N5Q2cm9iHWwIGvata/LnU4kCgBiFOUCx0Om+lZPWzegibgJ5QweuSb/AG1wOjrHeODuuJJb2uTY9nXc+2jolU7MDpyINSXrDAiPo8AusOH0Gnak237u81xwHgjxYyN3EOjNlMSZcgIIAJZiWve1xa+txReTFILgsoPcSBXvDsQrTLlZWsRexBt7KxhqkOlB8fiQhtYu5Fwg3t3sToi+J8hc6VcxGIZtI9F5uf8ASDufE6frbUKkULcDnqSTck95J1J8T5DSigMqLhy7h5SHYG6qP0cfdlU+k31217gtFk/n30ORtavx/wA++iAr4lO0fX9lcMmlUukBYtEqu0eaUKSuW9jHIbdoEbgcq4/JL/8A2p/+T/2qAS6E19tRAVR4HjAXmj60ylHFict8hVfoAD9IJF23U91EFH2/fWMfL/PvrwDT2UP6Q4nq4b9YYrvGucEAgGRQ1swI9HNy5VxFwgsAy4vEMCLghoSD5HqqJghiUujjvQ/Y1LkWvjcc9ftonBA8eIVDNJIrxSGz5DYq0QFsqLydqDwttSsZE2fSus1QE71IDRRgrgjbigAuAInJAJttGBcXt307xy1n3CsYPyhKzFFAjsDnB3a3O30aak4tH/SJ++v41DkkZRYWxkto2INiAao8NnZs92c9twNrWBAGtrA+FUuKceiELnrY75bi7r3jxpc6CceiTBxxtIgcAMwZrN2rWOo1/hTck1ZqY8S/rH/D+FCoP0836sf+r8aQ+JdN8U+PljwbxvGijQ2KC2XMbll7VzarHDek+KbEPGwiEhXMbLmBAAsLLIT869h3UuSDSU30aE024r3RpGHltm05X9n/AJobgpgmMxJchVLIAToCerhsLnc60uTdMmySKCvWLdWIUkAWBbTw5nYd2hqvxnEGSKFpNWkxWHOoA1yw622HfXNP4tQcFH+51/so8TW2HMdKVLNv2jz+saI8PlvEpsNV7/Og3E3ORjv2u/U9qp+H8SXq4lzBXdLqjHKxygF7KRc5bi/nXonOMMMhzgac+dWHbKCzPYAXJNgB66H4S5kF7c9jVnGYQTI0ciKyOpVlLGxB3GgoDItgeNe5T3/ZVYYwC4uoKkA3awBNrC5G/hU2Zu5f3j+FKEgRAG0+kT7SSffelLGNC+PljbI7hFOUqGKjPJrqNL3H82psDdr10vyr+eSn6if55qCMDxhCuKXKsSoYn0VLMTmi3YG1vV30SIqKVfl0/s5P80NfYPiMcpbq3D5GKtbkw3B8daYxTweCvJOXWNh1mnY7XoJuTe+lvYe/T3DNEuNSMZQ5RTky2uvWb7WPPSreBW7zf2g/6UNcydnFIQL9i/naWP8AGsAasSdKB4ga0QxE3ZFB5JNaKAz2Ia0Si5ULhOtEoTpRALPTnETIYDDGX+XjuQwBGuW1jqbhm15WuaOA1U6RH9Ge6aD3uF++rVAYG8PQCfE2AHajOgA3iT7waIAb/wA86o4XTE4j9WE+6Qf6autMo3IrGB3SFQcO9wDbKdddnQ/ZeiOW2g0Aqh0gH5rN/ZufYL/dRA0TC9xWaZeIYQxoXVllVruFUfoyTsdQtzb52Ud1DwbNbuJFMPENJsKf61h7YZvwpana0rjukYe80khokrHevr1HfVq8D0AmeRcJDOTGshVSpGgvrpbw7JOvfyq3DwKYvIVkYIASB1YZzYEgFQ411Gg/EU+8IwSZ37CgA8hRzC4RASbDU/cKg4Rb6LxzyiqRj8fCHw6yMVnmYoVA+L9lS2XXMXIa1iPR9lE8LBMFUCKQ6R62b6OuhAOla3iFtEbC+lRQQLYGzA0zxqn9yXzXezEoOjWLeRmML3Z3a7C41ZrUzdH+B4+CVXRCrfSGTQHIG7JIBOUMP5vTnjeLRxk6ki51GY68xoLA+FU8D0pVnIAOnO58ORronbhT6OePBZOS7AsnRXiIkHUsnVyAGVZMpGfTOBZScu9henfB9HGlhQYjKsqzCRChZlVlZSulxmFlAsatcPgZ489vaTVqIuGXs6BvPauLJgxuUJV07X+GdHOTTTYt4/iIt1edc9lcrzylgM3dvyorgEPVobLcKNTYHUC9tNPVWfycfmJYHCqGBCqxcKxUa2PZ0F+V6sf+sceFCLgRlWy5jKTcCwuLJ667btkTQuF4ljiACVPZY6X8KMDHjXsvp9U6+VZ58H3H8RLjCs8ccYEZIyFib3W4N/VTpwPCSRCQSTGUvIzqe0cqG1l1J2ty01oBLOLw8UsZWSPOrMrFSDqylWBIGuhUH1CphxEFsuV/PKbVF8dUNqwBPeQO78PdXQxy/THdvWMcdZ2h50Jt+dzfqJ/nmqzNjAGHM39nnVOCdji5AUYDqkOcgZCc0hIBvv2v53qUJKUmkM1SIsQh+MIcx/RyaaW3i8L8/cK7wuBEZYgk5jfXx+7SusSPl0/s5Pthqcmqgsq8OW0k51/SDn/VxH7/AGW7q5xjZZ1a9rRt7pIakwR7cv66/wDTiFU+KljMF6tihgku+mUEtH2SCb6geO/nWfWgBZ8RdLnxv7TQxMSGsykFTqCNQQdQQe6g/SXijQ4Cca36tlQ8wW7A8x2t9xzvvVXocGXAYYMLEJbv5m3utUoZLGcaGzDmiUG1BuHy3ozBVyYL6Tegp7pID/z46tVV6VaQk9xiPsljNW23oBAmCxLnGSgxst403IOitMFOn0rnTcW1oRxvgQkxkcxjz5VsNTowsQbbaW50fU2xreOHT3SS/wC6iR3/AJ7qyQ8ZOLtA3jpb4rNlXMTG4ttupHP2+qpeE4p5IlZ4zESPRLK2lhY3XTXuqfEJmRh3gj2qRUPCHzYeE98UZ/wLRFIOLmzYc92IT3pKv+qlLiU1sRMO6U+/Wm3jg7MR7p4D/wAxV++s/wCkExXG4of1kbe1E/GkyDwDGftnyqLrajWX5QeK/dVdpNaSwjJ0XlDGa6jRwB7PFR99NWFXuC+z+FZ7wbESASmzrd/nnuAFxdRpTRwjiyql5HN79/LTxqk1UmcsJ2th/icJaFlvlJFr+o99VcOAI1BNyFG/lQji/TKJU0NzfvHdQJumrPHaJVzDZTcXH1SDa/gazvjQeSsv4jhUKSPJrdjfc28tOVVOAOhD2tpKw0AG23L1UkcZ6ZTAN2VUjkxC+7Q1U6PdI5LODIt7l9FvvvuNam1J7GTSTP0LwEgwg3vcn7a6wTEGW4t2jbx1bWkDoN0neQKtz7LU5xuQJAOZJ18bny51XhfZuQj43DqDmubnKLbjS+1+f4UwYXDRlBo17Dw5DvqtiMKhWxvf6h1J15be8Vcw+AkGWwJAFrWC3211JPqrpkk1s542noiThKu5UAAFCDyJB0IuPOq2B4CgQCNTkTsABn0tbTcGu8TxIxMbix7ufv2oeOk5DG2i8h30qw30U+ZXZZPB4w12BBHi33mvfyPC2W65srZ1ub2YbEX511gulha+Zb+FGoVV9SgAPdp/CpyxOI8ciZBh1uRpVPEcYK4nKgR9BGR1qKwZS5ICk3Y2ddOV6KrgBurke8fdSZx/ojE0pfqhKys0mj5CGcksfMkEnzqCg09FHJF3jHGocPiIpsU/UXR1XMxIbVL2VbgWuNfKvm+EXh9v/lR/4vwpP4z0Kw+IaNXD4ewY3DFy1yosc97c9qEz/BbhwxCzS6G1yqkbE8vKnqgckP8AwHpLFiJp/iny5GVmbMygAgACzC26nUCrs3GwZ8rdWjIrIV61WbM5jKgqNVuEO+9Z9wn4PQplKfK2Krv1ZvYE6Abaj2UT4b8HYXFx9ojOwYgMSDkKtZtrjbv2oJM3JDbxWxjOgNxz1Hvpe4FxbIgUKoFz2F0G+6DYH6ugPKx0Lpxfo1IRZQD5Nb7aRsd0cmS4ysKnlxXtdjKVdjfwzEK1mQ5lP3Gxv5HQ93O1MeGOn8+NZXw7EyxPmBAfnmJCyW5Np2WtoJBqNiGG2h8A40k6m11dbB0bRkJ2DDuPJhdW5Ghiy2+MtP8AnQZR9XRS6fcQ6nByvlZrLsqk2IOYFreivZ1bler2DxvWxrIFZQ4DAMLEX11FRdLB+aT3/onPsW/3VOkdlAUWAAAGugGgroEKTj88Xxw7e6RP91X8/wB1L2M61cdETKgQpLoVscg6osuYnU3s19LBT30fQXI8QPvrBPU1t6qpdHz+aQeESD2KB91W0NwQCLi3jY8rig3RKGZcOBNKr7hQqZMoVmUi9zm1G+lEx90vx5iw+YLm+Vh0vY/pUbS+l9LC/MikLpZPmxk7ZWTNHC+VxZl7KaEXNiLVoPSSNWw0uYA5RnF+RXUGs9+EviXVcSNwLPCl9AdLuOflyNTy9Dw7Lkc3bi8Url5NT51SwnFYnyWIBXYXIJH6ramiLQITe7a6+j/GpKSKUwDPxJUUhJG7zZQtz33zMT7BXuHZXFy7E+Lfwq7iuFwRqcsbse92NvYgS3tNLZx2ViOyB5ffv769t4F3R898yXQ3wcOh6slpO0B5n7SBQDGM2Y5GGX6zX9y3qjFx8E5LljroBz5ab0NeafnaMd7sqe5jmPqFc+THR04m34GlRMSpSdu0NBIq2YeBJ9IeNqlTo+uGszA5W0Dk3U37ioAvSrK6Xu85Y90ak/4nK/YaO9Hem3UKYGiaXDOflI5GDEj6pygLrrty5b0kMey7ujR+jOHSJRJEA621yksw9WppnfpFEgAbRm2BIHupDkxhy9ZgH+RNs0QAV1J+ZlGrfzq1WcFho8UihgwXUlrqpjPIHMb28r11LBFK2Q+bK6Q4xcQCm5FjvYD7z+FccR6Y5LC6tfla/v0FCIsE5BUsSiiwksVv6zq3nUGE4Kj5mDBgOQP30jhG9lVJ1oN4fFx4n0gb21/hXX5BiZdAQO/+NQ8LnSK5IVeyNtTfnqeXqFVcV0qDEgX3HMX3GmvPXalad0jJ62X24R1Y7HdyGt/OoMfxlhoEY230NVYukThspve9rc791W4OIBz2gF5k3t7b6UGn6NrwHvxWYjUNl7l5+vlVjg+Id5SuXSwPMnc7++iUePgzWkZbcmsQP3hv9lVMbw+SbMI50Kj5sRuD5gan30v7AKnFWgWVWLXZb9lNTc2tdthax796hk4pGW1iUag2vck/yaoT4CVCQLADuHaHnmoVNhpEzHS+5Jt916KxoVzfg6wcQS7ErlzEHQg30HK3h31Y4bOHxkZUjKqte47QJy2ty/8AFJPCzKzWSzD5xHor45vDe1OvQoR9a2T5R9i52HeFH3mhKKitBjJyaseMQmlKnFF10NNmIGlKfFsRlJ76hAvkBGImSLWSzE7IdfWb7ChJxoLhkfJIuiuoHZG+Urs8Z5qfMWOtW8XDE7FnW5O5DH7K4XhKSWWJih7itx7R9tqjnwPIt/s12hsWRRLeM6TAw5cQsYLHI6iSy9WRZnVj6Q7l9LW24uVDgnTjhsxcSxywZbWzyTyZr3vYITa1hv31a4hwZgWXPG7KdVV1JuPqtY3oWmC6pSWiKA8ypF+7QikXOKqW2VuLeiPpZ05hwrxNw9UdisgdpEmNgclgOsI3sb2HIUG/96uId0P92f8AdV3iEEb5cwB3sR945V4OBQkXCKL/AFb0ryNeDcQSfhZxt2IWFS5uxWO2Y8ide166PdEel2FlWQ4+IdZmuvVwXBBuWuF55u/vqtwTo5DLiljdBlJIOlr9liOemoG1TYzBLh55Y1ijZQ9hcG9rAjtKQedUhclaQkvp7LvF+muAjkjEWBWRWPaZ4+rK6gaDKc2hJ5bUM6d4xMZMkqSRkqhQqMy3AkkKWzgXOQi4vveucY8JALRMtuatcexlJ99UuJwQ9gq7C4v2kH2qx+yjOE6NGcbAqxkC23hy9m1Sh27z/PrqycLcDLJG37Vj7GtXvxGTuHtX8alw+w/IcOMQRj05ifCJGa//APSZlHsQ0icTxCBzlU25B2zfYFX3VHLxiRn1YnXnrXHEptBprbewr6RyUou/DxoY3GatER45IBYEKNNEsg7tQtgfXVEKGJJaw9/sol0e4A2KZlUqCANWJ01HIDX2irE8WFgbKyyzyDe5ESf4SzH2ivPlbO7S6BdktZQzMe/8BRLDdH5dGlyQKdbzNkuPBfSPqFeP0gkGkQSBe6Jcp9bm7n21Ti1a51JOpOt/bRh2JJ0h16O4/D4WQPHJNNKOUYEMRHczPmZ18MorReG4iOdRJaOGQnUKBqe4yFSdfGsiwjqo9G9OHB2Z4rLZAea3v7TXpPCnG29nnrM1Kq0WuL4qaHEkSAjMey4JZfAFu7voxBwq0XWJZZCO2Va6H1t6VXOEY8yZcO4z2HpvZ28N9PdTT+QkWE5mbJubWzeNuQrjyZOLqR1Y4WrRng4VNJfZcoB1vlPr3BqSFCWDzSrHuq6G/cdPI6Wub+VHeK4781LQxRxqFaxN5HOUqo1IspsSb2NrDzpLxOJfsqLHMobMQLkbkEWtztpYeFJGXNjtKIYaGNW+SZmAFsx0bkTYb8+dqikmFrg37ybFTyFhbfxqDh2EMpyaKbHbY28LaUSgwllcsTZOybWNzpYAEWt4+6n6F7KEnEmCkING0zG178/5FDmnljPyburHmL3NtdR3fjRyyqRmQEG/okgj1m96ji4YM4FgSxyrckWJNgb2O3l7aZNIVplPBdMJlsuICSr9ZbE38RoO7QUV4lFhigaTrIA+hQspNjva9yB5n2VaxuCjwJRQolxDAlXcdiPvKr36fx5Ui8XjeWRi8hY8ydPHS3LwqMmpO0PFuCaew5xrDs8XVQELCAMojN7jvYGxa/spt+C7D2U6fz5VkOAndZFAdhqdibHuuNjW19DOLhcOHdb6gdka6kAc6nO+AcdOdjtJsaSuPvbNTte4pF6ZCxNc+Ls6cvQjYziBzVe4nxz4hhht8Ym0QfRHNj5X9pHca84DgFZmnfUR6geIBN/551nHHONNiZ2lbS/oj6K7qPx8Sa6JM5Y62Sz4pjcn131ueZqfBdIZY1ASV18Axy/unT3ULGI0N6iVwRppU3bGTSDUnSc3BeKKTvOXqyd+aW+yrUHH8G2/XQnwIkX32NKsj7V4jAMGIvblU3BPsqpvw0TgmHQYiJ0xCNZrhSrKzAgiw5X176o9KZcmMkP0greqwU+9aH8IxN8RCRfV095FHOkckQmHWQh7oO1mZWFi2lxy9VNGHHoLlyWxcxON7B22oRicQpVTtTTHwWCckRtLGTyYK6+0EGgnHOjUkEYLMjDwuD7LffTSToVfqBjJXPXCoSCa96pvD2/wqLRRH//Z"/>
          <p:cNvSpPr>
            <a:spLocks noChangeAspect="1" noChangeArrowheads="1"/>
          </p:cNvSpPr>
          <p:nvPr/>
        </p:nvSpPr>
        <p:spPr bwMode="auto">
          <a:xfrm>
            <a:off x="2101850" y="-560388"/>
            <a:ext cx="2533650" cy="1809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latinLnBrk="0"/>
            <a:endParaRPr lang="en-US" sz="2400">
              <a:solidFill>
                <a:srgbClr val="292929"/>
              </a:solidFill>
              <a:latin typeface="Segoe UI"/>
            </a:endParaRPr>
          </a:p>
        </p:txBody>
      </p:sp>
      <p:sp>
        <p:nvSpPr>
          <p:cNvPr id="10" name="Rectangle 9"/>
          <p:cNvSpPr/>
          <p:nvPr/>
        </p:nvSpPr>
        <p:spPr>
          <a:xfrm>
            <a:off x="2295099" y="1707840"/>
            <a:ext cx="5083792" cy="1077218"/>
          </a:xfrm>
          <a:prstGeom prst="rect">
            <a:avLst/>
          </a:prstGeom>
        </p:spPr>
        <p:txBody>
          <a:bodyPr wrap="square">
            <a:spAutoFit/>
          </a:bodyPr>
          <a:lstStyle/>
          <a:p>
            <a:pPr defTabSz="1218987"/>
            <a:r>
              <a:rPr lang="en-US" altLang="ko-KR" sz="3200" dirty="0">
                <a:solidFill>
                  <a:srgbClr val="FFFFFF"/>
                </a:solidFill>
                <a:latin typeface="나눔손글씨 펜" pitchFamily="66" charset="-127"/>
                <a:ea typeface="나눔손글씨 펜" pitchFamily="66" charset="-127"/>
              </a:rPr>
              <a:t>Public cloud</a:t>
            </a:r>
          </a:p>
          <a:p>
            <a:pPr defTabSz="1218987"/>
            <a:r>
              <a:rPr lang="en-US" sz="3200" dirty="0">
                <a:solidFill>
                  <a:srgbClr val="FFFFFF"/>
                </a:solidFill>
                <a:latin typeface="나눔손글씨 펜" pitchFamily="66" charset="-127"/>
                <a:ea typeface="나눔손글씨 펜" pitchFamily="66" charset="-127"/>
              </a:rPr>
              <a:t>Private cloud</a:t>
            </a:r>
          </a:p>
        </p:txBody>
      </p:sp>
      <p:pic>
        <p:nvPicPr>
          <p:cNvPr id="11" name="Picture 10" descr="http://postfiles5.naver.net/20110624_148/cherry7017_130890113182513Pwx_JPEG/2.jpg?type=w1"/>
          <p:cNvPicPr/>
          <p:nvPr/>
        </p:nvPicPr>
        <p:blipFill>
          <a:blip r:embed="rId3">
            <a:extLst>
              <a:ext uri="{28A0092B-C50C-407E-A947-70E740481C1C}">
                <a14:useLocalDpi xmlns:a14="http://schemas.microsoft.com/office/drawing/2010/main" val="0"/>
              </a:ext>
            </a:extLst>
          </a:blip>
          <a:srcRect/>
          <a:stretch>
            <a:fillRect/>
          </a:stretch>
        </p:blipFill>
        <p:spPr bwMode="auto">
          <a:xfrm>
            <a:off x="2792414" y="2959060"/>
            <a:ext cx="3076575" cy="2250440"/>
          </a:xfrm>
          <a:prstGeom prst="rect">
            <a:avLst/>
          </a:prstGeom>
          <a:noFill/>
          <a:ln>
            <a:noFill/>
          </a:ln>
        </p:spPr>
      </p:pic>
      <p:pic>
        <p:nvPicPr>
          <p:cNvPr id="12" name="Picture 11" descr="http://www.seoul-motor.com/genex/homepage/board/shEditor_upload/1_600_copy.jpg"/>
          <p:cNvPicPr/>
          <p:nvPr/>
        </p:nvPicPr>
        <p:blipFill>
          <a:blip r:embed="rId4">
            <a:extLst>
              <a:ext uri="{28A0092B-C50C-407E-A947-70E740481C1C}">
                <a14:useLocalDpi xmlns:a14="http://schemas.microsoft.com/office/drawing/2010/main" val="0"/>
              </a:ext>
            </a:extLst>
          </a:blip>
          <a:srcRect/>
          <a:stretch>
            <a:fillRect/>
          </a:stretch>
        </p:blipFill>
        <p:spPr bwMode="auto">
          <a:xfrm>
            <a:off x="5263488" y="1714677"/>
            <a:ext cx="4831307" cy="3212345"/>
          </a:xfrm>
          <a:prstGeom prst="rect">
            <a:avLst/>
          </a:prstGeom>
          <a:noFill/>
          <a:ln>
            <a:noFill/>
          </a:ln>
        </p:spPr>
      </p:pic>
      <p:sp>
        <p:nvSpPr>
          <p:cNvPr id="13" name="TextBox 12"/>
          <p:cNvSpPr txBox="1"/>
          <p:nvPr/>
        </p:nvSpPr>
        <p:spPr>
          <a:xfrm>
            <a:off x="1896205" y="631605"/>
            <a:ext cx="5961888" cy="1323439"/>
          </a:xfrm>
          <a:prstGeom prst="rect">
            <a:avLst/>
          </a:prstGeom>
          <a:noFill/>
        </p:spPr>
        <p:txBody>
          <a:bodyPr wrap="none" rtlCol="0">
            <a:spAutoFit/>
          </a:bodyPr>
          <a:lstStyle/>
          <a:p>
            <a:pPr defTabSz="1218987" latinLnBrk="0"/>
            <a:r>
              <a:rPr lang="en-US" sz="8000" dirty="0">
                <a:solidFill>
                  <a:srgbClr val="292929"/>
                </a:solidFill>
                <a:latin typeface="휴먼편지체" panose="02030504000101010101" pitchFamily="18" charset="-127"/>
                <a:ea typeface="휴먼편지체" panose="02030504000101010101" pitchFamily="18" charset="-127"/>
              </a:rPr>
              <a:t>Cloud Service</a:t>
            </a:r>
          </a:p>
        </p:txBody>
      </p:sp>
    </p:spTree>
    <p:extLst>
      <p:ext uri="{BB962C8B-B14F-4D97-AF65-F5344CB8AC3E}">
        <p14:creationId xmlns:p14="http://schemas.microsoft.com/office/powerpoint/2010/main" val="1682136795"/>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1000"/>
                                        <p:tgtEl>
                                          <p:spTgt spid="10">
                                            <p:txEl>
                                              <p:pRg st="0" end="0"/>
                                            </p:txEl>
                                          </p:spTgt>
                                        </p:tgtEl>
                                      </p:cBhvr>
                                    </p:animEffect>
                                    <p:anim calcmode="lin" valueType="num">
                                      <p:cBhvr>
                                        <p:cTn id="8" dur="1000" fill="hold"/>
                                        <p:tgtEl>
                                          <p:spTgt spid="1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0">
                                            <p:txEl>
                                              <p:pRg st="0" end="0"/>
                                            </p:txEl>
                                          </p:spTgt>
                                        </p:tgtEl>
                                        <p:attrNameLst>
                                          <p:attrName>ppt_y</p:attrName>
                                        </p:attrNameLst>
                                      </p:cBhvr>
                                      <p:tavLst>
                                        <p:tav tm="0">
                                          <p:val>
                                            <p:strVal val="#ppt_y+.1"/>
                                          </p:val>
                                        </p:tav>
                                        <p:tav tm="100000">
                                          <p:val>
                                            <p:strVal val="#ppt_y"/>
                                          </p:val>
                                        </p:tav>
                                      </p:tavLst>
                                    </p:anim>
                                  </p:childTnLst>
                                </p:cTn>
                              </p:par>
                              <p:par>
                                <p:cTn id="10" presetID="16" presetClass="entr" presetSubtype="21"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arn(inVertical)">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animEffect transition="in" filter="fade">
                                      <p:cBhvr>
                                        <p:cTn id="17" dur="1000"/>
                                        <p:tgtEl>
                                          <p:spTgt spid="10">
                                            <p:txEl>
                                              <p:pRg st="1" end="1"/>
                                            </p:txEl>
                                          </p:spTgt>
                                        </p:tgtEl>
                                      </p:cBhvr>
                                    </p:animEffect>
                                    <p:anim calcmode="lin" valueType="num">
                                      <p:cBhvr>
                                        <p:cTn id="18" dur="1000" fill="hold"/>
                                        <p:tgtEl>
                                          <p:spTgt spid="10">
                                            <p:txEl>
                                              <p:pRg st="1" end="1"/>
                                            </p:txEl>
                                          </p:spTgt>
                                        </p:tgtEl>
                                        <p:attrNameLst>
                                          <p:attrName>ppt_x</p:attrName>
                                        </p:attrNameLst>
                                      </p:cBhvr>
                                      <p:tavLst>
                                        <p:tav tm="0">
                                          <p:val>
                                            <p:strVal val="#ppt_x"/>
                                          </p:val>
                                        </p:tav>
                                        <p:tav tm="100000">
                                          <p:val>
                                            <p:strVal val="#ppt_x"/>
                                          </p:val>
                                        </p:tav>
                                      </p:tavLst>
                                    </p:anim>
                                    <p:anim calcmode="lin" valueType="num">
                                      <p:cBhvr>
                                        <p:cTn id="19" dur="1000" fill="hold"/>
                                        <p:tgtEl>
                                          <p:spTgt spid="10">
                                            <p:txEl>
                                              <p:pRg st="1" end="1"/>
                                            </p:txEl>
                                          </p:spTgt>
                                        </p:tgtEl>
                                        <p:attrNameLst>
                                          <p:attrName>ppt_y</p:attrName>
                                        </p:attrNameLst>
                                      </p:cBhvr>
                                      <p:tavLst>
                                        <p:tav tm="0">
                                          <p:val>
                                            <p:strVal val="#ppt_y+.1"/>
                                          </p:val>
                                        </p:tav>
                                        <p:tav tm="100000">
                                          <p:val>
                                            <p:strVal val="#ppt_y"/>
                                          </p:val>
                                        </p:tav>
                                      </p:tavLst>
                                    </p:anim>
                                  </p:childTnLst>
                                </p:cTn>
                              </p:par>
                              <p:par>
                                <p:cTn id="20" presetID="16" presetClass="entr" presetSubtype="21"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barn(inVertical)">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3.bp.blogspot.com/_btKW0FqhWqU/TChjoJyeRHI/AAAAAAAAAXw/noNYVYlxg-8/s320/SQL+Azure+datacenter.jp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7050" y="2254084"/>
            <a:ext cx="6533392" cy="4328374"/>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4" descr="data:image/jpg;base64,/9j/4AAQSkZJRgABAQAAAQABAAD/2wCEAAkGBhQSERUUExQWFRUWGBoYGBgYGBkYGhkaHBwWFxcdHhgaHSYgGB0lGhgZHy8gJicpLCwsFx8xNTAqNSYrLCkBCQoKDgwOGg8PGiwkHyQsLCwpLCwpLC0sLCwsLCwsLCkpLCwsLCwpLCwsLCwsLCwsLCwsLCwsLCwsLCwsLCwsLP/AABEIAL4BCgMBIgACEQEDEQH/xAAcAAACAwEBAQEAAAAAAAAAAAAFBgMEBwIBAAj/xABNEAACAQIEAgYECQgIBQQDAAABAgMAEQQSITEFQQYTIlFhcTKBkaEHFCNCUmKxwdEVJDNygpLh8FNjc5OissLSQ6Oz0/EWFzRURGWD/8QAGgEAAwEBAQEAAAAAAAAAAAAAAQIDAAQFBv/EACkRAAICAgMAAAUDBQAAAAAAAAABAhEDIRIxQQQTImFxUYHwFEKRsdH/2gAMAwEAAhEDEQA/AMRsD4ef40XxHYw1uZVF/eJmb3CIUHhjzMBtcgUW4xjfQWwIIMhU62zkZR4WiWPasYDVNhYszgHQcz3Dcn2V6yKR2TY/RP3N+NvXVvhuHtcsN9LfVFi3tOVf2jWY0avYYSXq4nZkLLcEWBDC40GbeMKm4HMb60tu4Ddi9j37+I0386Icaxp6wKrH5O4uNLufTPt0/ZoTTN+E0rbk/QlhJL78vef4X9rVJPiVkNn5DRxv4XHzh7wLa8qHJNYWFcl61g47L85uAJe0NklXU2HL6wHcbMPDaqsODZ3CJZiTpbbz8BX2HZvRW5zaZd7nlp3+NPHAejxiAUDNM9gba/sjw+2pylRRKwn0L6NqZI4htfNI3Mhd/LkB51rQiAACiwGgA5UJ6NdHFwyXOsrDtHu52H486NUsV+pmyG1eZanyVwUpxTgCvq7tUbSW8axjosALnas06a9KpMU4wmBYm9+tZdAR3Z/mr3nn40X6XxST9jrxDEp+Wa/ZC8l8WJ5a+VLmDzSq0HDk6nDr+mxT6FhzOY7e38KpGNojOdOhaikhwpC4VRicUTbrLXSM/wBWh9M/XOgtsa5wcatNnmz43EsbiMEut/rP8+3h2Rbc7Vd4zwNYEzxmT4swytKIyGmb5wUnaO9rE2XwY6UL4bxFwwjhHVBtAF7RJ5ZiR8p5EZQdgKZKpGbuJoQUdWr8SnVY7djCQnRvA5TeTyWy/WO1GjxB3TJJInC8IqX6sFFxTx3+iNIFJ8L+HOljo98nN+aQnF4sgZ8RMbLE/MFjdRpyU30sSeTJwzgcUk5d0HFcbcZioC4WEgWVXkN1IX6IDH6vOjIESXhOIllRo+FQLhcJa74ue65rXu4JOeQ63zE201NtKk4F0cWKRxg4TiMQpIkx2LBEaEE5hGh1cg3HZAGmrUZlw6yyZMQTxCdLWwsIy4SE8s9zluO+Qs3cld8cKlkGLZ52JCDBYY2izm1hJIctx2k0kZRropvakKguCBDMWhDcSxYNjiJCBBCe5WHYS30Ywzd5qljIVeW0hbiWKU/oYwFw0J+tfsDzcknkBR7HQM9oZ2ygDs4DA75eQllGUhf7tPE1HNgiiiFrYdPm4PB6yEf1koAy355co+uaZE5CzjIi06DEymaVWUrhcKD1ceo1kbQmw5sQNNjS7h+HBZtQwtKfQuT6RFgRy+69NfGcQuHQx9nDJv1GHs0zeLyfNvzP+KqcOAujsoK9pyLHUdo217/xroSq/wAEb5V9mFcA3UJZeqwMZPK0k7/aL/vmi+AlC9uKMKeeJxRLP6lJuPIlB4Un8MNnZgApzEGSQ5mOp2uftv5U04GRbhrZmHzpNbeS8vdRcVQim2wxFh+t7RD4kjUNL8nCp7wlrHzCn9ap+GKTn6xhISb2i7KakgAkG7aKNydhQDiXTnCxD5WTrCPmjUewdmkfjHwuS3kaA2RzlA7JyZFXY+Oa/q0pODKKS8NdxvFUhTtOkKdy2Hv5+oUuN08wQNs9/GxrIoIuIcQbsK7Zj6Rvr+0d/wBkXot/7Q43nMgPMGQ3B53ub06hFd/8M5Sf8sUsR0SV9YJNT8x9DqbaNz9nroT0gwzpO4ZSouQtx81eytjseyBtTZwrHZWv3KxIKg8uzuPpldd6vrPnARgJAbDKwv4c6SWKMnrRDH8ROCXPZmYF6Y8PKYYy1gwQDLzBOoBHd2sxN7aKKK9K+GQZlSNArjKgKiwNhqTbQkD16amhnGuHzIkRS+RtgpOYltALfO7NhpffXeoODizujmU40vR06LcAwk+AVGWObUszLpIjNa923BFrcgQBpS9x/wCC6WO74YmZBrlNhIPVs/qsfCk/C4ySF8yM0brzBKkeH8Ka4vhRxHUNGyqzsMvWDskA6E2Gma17EWseVLoamuhMZbaGvKsTxpbMjHxVvSHkRow8dD4Ub6K8GDnrXF1U9kd5HPyH2+VI3Q6CPRbgRjyyOLyN6C81B8PpH+d62Pot0Y6heskF5mH7gPLz76q9Dei+S08w7ZHYU/NHefrfZ9jflpUr2wt+EJSvClqsdXXYiqgpTNem1Aem/HXw8doBeQEFjlzrGuoBkUEHXkNL235HFsbJjsVKRiMQxRQHZnktEFJ0IUWGtiAAL30tW4urF5K6NY4z8IeGgnSAFpXZgG6sZsl++3pH6o1t7Kk4zx5I1u7MitoqqLzzHYBFH6NSdLnXyrIhikiQjC/JR7PinHysnesaj0R4LrtmK0Q6OcQEJBGTDqbHr5rvMQDcFEG2uo2H62t2jFCybSHTiPAmmMZxYKRX/NsFCp6yQmxOc7A23JNhzNqJ4iJI+rjxKCSTeHh+HF0XuZvp25u/ZFtjvU/CsUqQmVCYIW7UuLxJ+XmOoHVofR30LWUckN6qycPkALITg8NLYGaRS2MxDWJORD8o+bSwI01sttaf7CVZQ43KHITGEyu36PA4a5C20Gdh6RHfootzFJeP4HLAxiZFRsoJQMGJB1s7KdT9QWF+RrSMPw9cOMqq2EEnzR8rxDE+JIv1Q9tvq1Bj+DqQIurWFtWjw8a9diXYiwaV79kd5Jt9bS1UjT7JytdC30XcTRdXIJpBHvh4nWNZbkBSwuosNiAQO++1P8JNlglbKAOzw/ADUDl1swy5F79Y18WpOl4K+HkEyrYqbOvjsQfA7edPXBYQY1SHMsLDMIsNH1Jb6RmxJOhvcHKVY2+dQyRobGyyiEAQEiBQNMFgtZLH+lnFurB8Mg+u1ccX4Wow4jMKqiywuuHw75HDdYgzvPoAwvm5ElbZjejWBw6qmSMKqjUpB2UvzzzaFj3kWPfeg3SvEsYXijyhApzKg0ZiMyqGO59Ek6Dtr41EsghhoBGvVqBEL6w4ftSE/wBZMdieZ0P1jQ3iEhUFE+THOODVz+vMdj7D4mlfhvSHGxwrGYZTYa9uDtHmSc4Jvuaml6RTsuVsNKB3K2HX7JRTQkk9iyg2tAHpG2RSDliHNU7TnxZu/wAaO9GQHwTMPok+vq1b7SaC8Twkbo7yYWfIgzHLJHm0DFiMsttANeeotRDgePMEHVx4WcRkABSY3axXfMZNrG2/KqTyqT0TxYXC2zPMd0yaKaUAC4kcD9420GvvFUjx/GYs5Ezvc+io09g0Hrp0k6KYRpDI+BxjMTc3KEE+Qko6nGfi8eTDYSeEC/oRKpJO/aDFh+zapwfFFpwUn0JWF+DDEsV+NOIQwvZiWblayKCSTfSwOxpuwfQfA4IB8QRf5pxb9UD3ZMMl5ZdzoctMnA+jryQJNLizhYpALpCqxTMdm6zENeQtcHRctFuCwYCHt4LD9dIwv1oBdz4tPJdveabm/AcV6C4Jp5xlw2FmkQ/Ol/McN59Wvy8o8Gvepx0Ox3/6tfAYJiB4Al7nzpkw3EpWmVZXiiNi3VBg0hA3J8PGwq+eNRfSpbkFJH5iGJQRsWFiWVNLD6TnvB1VavcIky/Khgch0Vri55bE21I1F/KuMD0KxGIBjV0RlVXCyAjPmGW4I30jve3zqo8a6PY3DIFeF0A+ctmjI3HaXQc97VSOTVs5J/D26R6+IE0+ZjlCaFtx3sbi3fvpRjAQ9diC4IaOHRe4udT5gDl4+JpR4XxYwoxCtmIsD9b8L/ZTX0cwyGJerY5h6TocpLHU5la4bf5wPqoKVjuHFBHifBocRpLGM22bZvUw+w9kd1KfFPg8kXtQMJF+iSA3qPot5nL5Uz8Z4lLh4iSqy8l0KsCdrrqCO8gjwFRDiEiwhyvbK3yqdL+Z/jUpyQ+KMvDOYuFSGURFGV76hgQR4kHYW1rc+gPRJciSuOwnZjXvI3Y+v33pa6NcDedhpeWTV25IvcPqj3mtgwuGWNFRRZVAA8hUV9TOrpHuSpEFdqtVuMcXiwkLTTNlRfWSeSqPnMe77qoKWndUUs5CqouSTYADcknQCkXHfCIuIYphnEcIIV8S2UGx0PVK+/6x8wG2rPum3TOfinZiNsONeoXR7jnIv/Et9W6juBoR0eQqc73sPRfQhGGotHvIdtARbe4q2PHb2QyzaWjZeG4xYYsrDqcNs2YZp8Q537Ju2u1zdzyAFjS/xb4PklvJCmW9rYVzq43DWGwAt2QdxuNqLYHBzwKkkgJQi/XuGeSzADLHHlvHew0Itto1FIcUQypGWUuNUBJxEh1v1jaiIXA57E6ptVGnEipJmN8d4G8UhKqXe+XtgDqu4LGQBYa6kAD6ItmoFHhcrdY5LPe4BJNzfe+7er94VvWO4CMXZp8gKgX6u3VRrcEiSY/pWO2Ud+t9DSn0o+DRms8O9uyNQjC5PZB9DU3tsb+N6RJMo5SoEdC+lq9cGkKBx6M04aYpytBh10zdx38TsdVw82QhiZEaQenL8rjJtCB1cC9mBRmPKwvqg1NYDLw50c+lHKp15Nfz5ef/AJp96BdNFUGGU9WTbMQwiz/2uJYmV/BUA9lGcGDHlXQ9T8LZSRGHjL2zdX8rjJdFJ62duxABmHM/VI2qDA4UAMqgIt7ukLEC/Pr8Y3aY94XXzo0ljFlQKFYaDJkTWxuIv0kp03awProVxjDkEEm9vRzAWXbRYh2VI7zrQgr0bI62ibD4aI2WyZCMvYUJEBroGY5pGJPpAeyhHE2/J75JLGJmBUsLrfYEi4v9FhfexqljulcMJJd7t4nM34J7vOuY+luF4xg58JLIsM0YzQuxvm5C3NjfssouSCCLnajXHsnF81odMLx+Jo1kdwFsLdYV08BEhygjbUk1QxC9YuMuSSBLv3ZEK6ctD7qQ+hnQbGjErLi+xFEQQhPacj0dN8t9dbXy+NaabBHB5owPrRR91Rkl4dGO62LOGF1U+A+yk74R8OzGAqCdJAbA/wBWRsKdMEziNBYegtwbgg2Fxa3fVhZn7h7f4VFaZZoTOgUJ+JSIwIJeQWIOzInf66JSOfiCsCVPUQsSpIPzCbEajS4phuzEXtbbfy8KVcXA78JyoVB+LWOYE6IpzDTnpoeRrBQWbgQB/S4j++f7zQXjEow0sK9ZiWLtlKkvIpVkkUa2tcPlO97C9MXDMM6wRq5BYIoJAsNAOVV+NrZYifmzxH2sE/1VqMAOj3GXMeGijwBxkxRC0kmZ0QZypsALD0bkkjXXWm7EcI4pOv5xiFw0Zzjq49DYkBBaM9oW+uD9gv8AwXyNHgTGQQVnmUXBGmYlT5Eaij2KUsrk6kN7gRaqxEasDcF4FHhbxxr825Y+kx1uSeev20PeMgnfemiYBZb960BmiOZvM/bVExaMPg6cPHO0clnw4YqMy5njXbMh3GozWvamDG/CM2HWIYaYYga5y6ta2lhdgDcCswSZibd+w3HlaiE0dktk0PZUg22sWOvIk/bUE/EUpdseIul/C8acuMwvUSH/AIsR08yy2PuavOK4+PhyBsLio8TGXy9UwUuOZ+UjIOmnpDmKzsYVSNHF+5tPY2xrh8E4Ga117x2h7RtR5MVxTNIwvTbC4tepkDQM9gT6S7i/aUXsR9WtAx3RGCaFBh3GgAUrZlPsOnt0rLPg/wCibTr1iLnc5rcgijQ6nmTpWzdGuADCprrI3pHu+qPAd/Opt8uxopR6LXAeDLhY8g1Y+k3efwHIUVU1yhrnEYyKLL1kiR5zlXOwW53sLnU0yM2WVsN6RfhO6OJjYld8UcOsNyubWMk7kgWa9tAQTpy1NHulvGRDF1aXkxEg+SiT0zqO1sQqDcs2mlqWcH0dkZ1m4iwxDixWFTaKM8rg9mQ+ZGvI08UTk/EZnHwCZE62WHPCAGSYXQE3y3LmxCaE2YAnS1i16O8E40olSSy4gxtrJaxTW9urIswuDqRfXTLudKxPS2NSUQCSS2qnsog2sQdWO+gvtyoJF8G3xomT/wCMScwdBk137MY0Hnp5mh/WwhkUO39vPyM/gsk8fPpff38Gi8C6TQ4pLqRfmD+HKo+MdHs93iNm3y3Ko5FrZslma1tr2rKpMLicFMy3XE5RmLQG8irewLLv3XLADXemXgXwgidcqy3NuWjjzU7+Y9tdLxV9UGc0cnJcZrZf4fxESNkcZZI9BdVJTtakQC8cFh85zm02NX+GqqyS3tdyhZuszl+yoGaQi/K2RBbTek7ifBHjUywG9rtbdL9+Q3Ct9a1TcNV8QpkM8qscoYWiIBCITYtGWtrzN6lOltD4+TdMa+kHQrD41e0MkoHZcCxHmO7wNYj056Hz4Jh1gtr2ZF2PkeXlTfxjjJw86wmXEEvlIIENu0cv9FRcYeTrJA2IlKqikC0RtfrL7x6+gN6EczS4+BlhTfL0zjon8KkuDBjkXrE7gcuveSBmb1k0Sm6Q8Q4oGEMTImmVh8nGuvbzOSBse/1U6wwTEBgZ7EAjXCDcXHzK5R7uUdsY2hBSIx57jqTo0SqVBEgu2YWAOorKewvEq0J+E+DeGIr8exJeQ6iGK9yBqbDKZH05pGR40/dHej8kYBweETCp/S4jsMR39WpMr+TSRDvWrvB0hiB+LRRRFgCSbPNm1zZghZm0tqWve9EcMrSy3ZWZQLsztZQeQWMaHX6WosaLlaBxpnrxOtw8nWNckuEVAT4KvIDTUk6b10sV/Kp5F19v31aiiBIHj/v/AApCoocKQmGP9VfsFWurqpwqE9Ump2t7LirfxU+NTHOWS1vOgmHwx+JshBHYnWx7s0gX2i3to5JAdNTvVHAKXVgxJtLOnqDvlHqWwomJOHnNFGe9EPtUGq3SOO2HLH5rxN7JYz91WeA64WD+yj/ygVD0pwSSYWXOoYojMtxsQL3HsrGCXwcT5/jYLFsmLNje/ZYXWx7rWtTRjH7Mo8QaS+gxEWIx0aAKvWRMoGgA6pbWHdpTNNMTcnnv76eKFZxO9yD4fdXJhBqCSbRf55V51pqgp+XuFwM0m1yov432G/ifdXHEZlLWBNl0G1jbc6HvvWmS/B1xHD4WTMnWuTZQwaSy7Hky2tfQkC58r55xHCNG4SeARMdytxp32BYeoAVHjRRuwaYDrazW1Nqk4fg3lkCRi7H1WHMk8hV/hIgXGJ1knyIk1cqSLfSy2v6rVt/COikEjjEIyvDIt1ZVKlxfncA2pWYt/Bxw3qMEqZTfMxLkavc3v5XJA8qZcRjI4lzSyJGve7BR7WIqtxLE9Th5JBlHVxswzXCDKpIvbYacq/M/FOJzY2ZpZWLu3M+io7hyVR3VkA2LpV8LGRur4cIpyp7bk3XTXKiggt+uDbuvvWY8W4jPjZ+uxZcufQQdkIvcAdI0HffxN96u8B6BzzxGWCMyFTY5SufYG6xscwH18p8Ad6sYhsXh1yzI6LYgwyxl1IHP5TtA8+QHKw2dIVs74Fx5oQXjlOc9ljlJQRqLgasGbc6tYDuo0nwipKQsrFVtoUuBzU52FmJy7iwGtKv5YwsoCzYQoBoHgkKkeJR7qx9Yr38h4WW3UY1AT8zEK0Lf3gzR+u4p5RUk1Imm4tSibLwvivDliV1JxMmiqoTM1zf0VGijQ9okW76JjgeNxIJllOGhOohR88pHc0/zARyXN58qwPE9HsZhu2EkAGueI9YvnnjJHrNWOj3wl8SgYRwSM9zohXP59nc0kcUMSqCHllyZnc3Z+kOF4WHCJlSIQruWGoJ72f0ifFqV+mPR/hmKe2VvjW4bCfpb8i2Xsnzb2ig3BOl0+Jt+UVZFIFo8O2UsdjmRLuR4CS/1a0bhvC4BGpgTqVIuAq5D+0pFifMGm62xdvSMyfgXFsKg7HxuEi1w6x4mPkC1syv36ZzRHo/nEbZl1L30BUHsR6gMAbXvyG2wpwx/E5IiQyxqNg7sFJ8owSWPkR5Us4GXNJiCzE3nbWxF+zHyOo8jSydoaPZ5iODxSuHeFWYWsSdRbUc++o5g2ebKBfqksCbD/wDItcgGioK959hqlYdZIb3uiC2txYzWPkbkfsmkoc74KG+LQ57Z+rTNba+UUNj6NxYjFtE5eONs+cxt1ZJK4VgpYbBiG89aL8LN4Yv7NP8AKKF4fiqw41nnURxgut3ZbNmjhHIm17DfvrJGY68O6JYXCxdXBCqKdTa5JPeSblj4mr0OGypb+fClLBcawXFHGFilnPUnrGCsyqVVhdH17Sn0bHW21OmJewp99CqnsHvDdlHeD91WOoCkef25r/bVET2cHuP4VZknvbzFYIucPj7OuvacekBs7Ab+AtU8kmlhoPMH7qh4thkGBlkYspR37SAFwOvu2UEgXIJHrr3gOFgkifKzOA11eT07FUOUnnYn325UAkDxkfOJ15+Xuqhw9spmNicuIkNhuboj6eJze+izwKOQ3H2ih+BUdbiARtOh/eghFYxS6GY1pcKuaJo8haPtW1ysV2B0Olj43teinE4c0Eo743HtU1Hwdo0jZbop6yW4uAb9Y419QHsFWMY4ZCqSohPM5W89Caxgb0e4gxxUqFrqIMO6DTTMDm8TcjnTBJJr6qSui6smJTO+cvgYjewG0klhYfRVgt+dr01yS1SIrInfsjzqYT1SMmnrr7rKcBgeC6e42C3U4qVAosFDsV/da4qt0l6Y4rHsjYqTrDGCF7KrYGxPogX2G9WJ+BkaNhJAf6uUW9jKx99VH4VGPSGIjPjEHH7wZfsqLb9GVeAkmiXDek2Kw9upxEsYHJXYD929vdXP5NjvpPH5MJEP+Qj311HwNibgo6/UljJPqJuPZSDHv5RnlLh5pSrnNIC5sTvdgTbfmanjnyABSFU65iCC2nzdAT+tpuNqJPwiCxv8chHLPAHQebIwv52pdxy/KMFcSAGwa1rj9U6jyogLSYxl1QOu92Vrk763t3Hvo5gvhDxqIY1xshQi2WYdYPVnD291KdiPmke0UT4RgHxBIDHsi5Bs+nm1lX9phRTBRZXiL7mOKa2pIADe2Ig+0V58VjmXN1ckI+mzKY/a2Uk+AJNGMH0dhjZDI6DMwHyWXEycj2QvydwCDZVY+NamOg0RVZMO0OY65sSsgmUW1tdiF1+aqp5im2DRnfQPoQJp0yTZzckZG6obXNwwzsLbgAc60HHdGo8IrkxShdc10OVydrdXnllOoF2sRvc0J4D0ZUrLJiXd8uJkS6GRcxUkahGLZb3NrnU63p7h4y4jCJcIAR2zlsBtqbNR6QrdsSIMBjcQD1MZgVgP0hGHBtztGWna/czjenropgp8MPl8U8ulhHkVI156HtMT4lvOhMvSGIWBxCM2vYiHWliNxm325aHSvuH9IcRthsFI5bTNiGKAHbUG7AeWl+6pyu9Dx62MHE+keChcyNKiy3CEpZ3vYkKct7DfewoJwvELMZpEBAeVm7Wh1VDe3LlprUEXwdYyV3bFYtGV9ciRKMuoNgx1A3Fh399VsfwaaHDTxYYP1iy2jIKqcoEYJu+hFgeevfRdUZJp7D5iPK3toabCeUn+ijOgvs2I7tTV6CIZFDatlAba+awzbeNV40HXubadXH/nnoBOeATh8NCwvYxpa4IPogbGok4VBicYIsRGJEY3sTYXEatqBv6I9ldcLxJWGNRBL2UUHKq2uB2rHNrreqsHCJZcYhBnjDyAks2UqqoxcLkN1BAyb/O50EE0HhnBIMMCIIY4gd8ihb+dt66xW1Wm2odjGooDKNhm9Y+6pwdPLX/Kaqs4UF3IVF1LE2AA8TUSyyTkZbxRd5Hykg8FPoKfpMLnkBvTAA03Sd8M8qg4MIGBDTYhoj2xnH/CK3Op0Y3tyrqfF44m5hw399L/ANip+JdH4pmKzqkqdkrG6KVVlDBmXndr+q1e/kSG1urFu67ctudAJQefF2u0MFhb0ZZGNri9lMIubbC4qrHFileRzFFaRoiQsjswyAKbKYhc2A5+2ix4FDyQe1v91eDgcP0B7W/3VjAaPhc5d3kw+EfNYgMbkHndvi9zf7q+xGCMal3wnDlUbsz5QOWpOHsKNDgUP0Pe/wDurmbo9h3HaiVgdw2Yg89ibVqCAuH44vMhCYYII3UNC5kNlKkANkVVTW+UX17rGjLSVx+RYcPGxiVIkQMxCgKp7J3vta176bUGHSIN+iR5fFFOX+8bKn+KmToFBbka8zDvFBWkxMh/4UQO1yZW/dSyj941yeFy/wD2H9UUVveK3I3EW2lW4/NoyLciEP8AhFT9UHGVF6gm3bZ3cDv7Ivc/jWk4HofGgICK2b6QBtbzGm9dN0Kim7PV9VzzKttuV7Wtr7q8+LzId8WI0XRCBwB8YiNuTFBc2+i0Yt7a4xfwfQNa4gIH0bf6JD9gp6PwXpynceoGoZPgzblPfwK/xqnzMy7QOMTN5uh2DRrR9lzqDHOyADvJcBffV0fB/nGmJnb9Z4MQvsc02Yz4PHsQSp9VK3A/gxkjxbKzF1RQ4IOTVi9hfXQW5WNKviJdSjQyhfTIYugTIbB4JMx9F8GUzAC/pQgg2N9bmpeiXAZoZpmiX4uyOiHq5nUSBhmW3W3BF+Wlaf0T6OLA0hyrc5RcFmNu0fTcljvzrs8OSbE4hHAZbRix8EBGu9+1vvXTCVqybRk/TLjzxymPFpJGyWYP1MMmYHZiyqlxpb0jqKA/+q4QPksS4NtpOuiX2RZh7RWzzM5do7MsYLLcydYDZrWKuDobbHu8q7l6G4Oa/WQwyED0mw8eu9rMgU6DTltWWwCLwrioh4bC0kzQ9ZiZ8zRiIknU6dcyaa8hfbSq7YvhjkdfPjZ9O0ZY5HivuOygIB5U6cH6KK2G+LzRCxnmYKy3GRnJUj0gLp3699FH+DPANvAm2nZQWAtaxC3FUYEjP8T8NeCw46rDYIyZbAGyQKQNiAAWtYcwKrcR+FriYaNUwsOH64KUzBmJD2tqzAcx837KfH+B/AHZZVHcJWtzGx050YxfQyB5FlYyGRLZGLk2sVb7VF/XShdmS8B6R8T4meqadozoSS/VXGpYqERWNgNrkaimeHo7MMmUx5Rl60yGTNIAkYujo53IbtMCb8rAEm+F9DUw8olg1N5Q2cm9iHWwIGvata/LnU4kCgBiFOUCx0Om+lZPWzegibgJ5QweuSb/AG1wOjrHeODuuJJb2uTY9nXc+2jolU7MDpyINSXrDAiPo8AusOH0Gnak237u81xwHgjxYyN3EOjNlMSZcgIIAJZiWve1xa+txReTFILgsoPcSBXvDsQrTLlZWsRexBt7KxhqkOlB8fiQhtYu5Fwg3t3sToi+J8hc6VcxGIZtI9F5uf8ASDufE6frbUKkULcDnqSTck95J1J8T5DSigMqLhy7h5SHYG6qP0cfdlU+k31217gtFk/n30ORtavx/wA++iAr4lO0fX9lcMmlUukBYtEqu0eaUKSuW9jHIbdoEbgcq4/JL/8A2p/+T/2qAS6E19tRAVR4HjAXmj60ylHFict8hVfoAD9IJF23U91EFH2/fWMfL/PvrwDT2UP6Q4nq4b9YYrvGucEAgGRQ1swI9HNy5VxFwgsAy4vEMCLghoSD5HqqJghiUujjvQ/Y1LkWvjcc9ftonBA8eIVDNJIrxSGz5DYq0QFsqLydqDwttSsZE2fSus1QE71IDRRgrgjbigAuAInJAJttGBcXt307xy1n3CsYPyhKzFFAjsDnB3a3O30aak4tH/SJ++v41DkkZRYWxkto2INiAao8NnZs92c9twNrWBAGtrA+FUuKceiELnrY75bi7r3jxpc6CceiTBxxtIgcAMwZrN2rWOo1/hTck1ZqY8S/rH/D+FCoP0836sf+r8aQ+JdN8U+PljwbxvGijQ2KC2XMbll7VzarHDek+KbEPGwiEhXMbLmBAAsLLIT869h3UuSDSU30aE024r3RpGHltm05X9n/AJobgpgmMxJchVLIAToCerhsLnc60uTdMmySKCvWLdWIUkAWBbTw5nYd2hqvxnEGSKFpNWkxWHOoA1yw622HfXNP4tQcFH+51/so8TW2HMdKVLNv2jz+saI8PlvEpsNV7/Og3E3ORjv2u/U9qp+H8SXq4lzBXdLqjHKxygF7KRc5bi/nXonOMMMhzgac+dWHbKCzPYAXJNgB66H4S5kF7c9jVnGYQTI0ciKyOpVlLGxB3GgoDItgeNe5T3/ZVYYwC4uoKkA3awBNrC5G/hU2Zu5f3j+FKEgRAG0+kT7SSffelLGNC+PljbI7hFOUqGKjPJrqNL3H82psDdr10vyr+eSn6if55qCMDxhCuKXKsSoYn0VLMTmi3YG1vV30SIqKVfl0/s5P80NfYPiMcpbq3D5GKtbkw3B8daYxTweCvJOXWNh1mnY7XoJuTe+lvYe/T3DNEuNSMZQ5RTky2uvWb7WPPSreBW7zf2g/6UNcydnFIQL9i/naWP8AGsAasSdKB4ga0QxE3ZFB5JNaKAz2Ia0Si5ULhOtEoTpRALPTnETIYDDGX+XjuQwBGuW1jqbhm15WuaOA1U6RH9Ge6aD3uF++rVAYG8PQCfE2AHajOgA3iT7waIAb/wA86o4XTE4j9WE+6Qf6autMo3IrGB3SFQcO9wDbKdddnQ/ZeiOW2g0Aqh0gH5rN/ZufYL/dRA0TC9xWaZeIYQxoXVllVruFUfoyTsdQtzb52Ud1DwbNbuJFMPENJsKf61h7YZvwpana0rjukYe80khokrHevr1HfVq8D0AmeRcJDOTGshVSpGgvrpbw7JOvfyq3DwKYvIVkYIASB1YZzYEgFQ411Gg/EU+8IwSZ37CgA8hRzC4RASbDU/cKg4Rb6LxzyiqRj8fCHw6yMVnmYoVA+L9lS2XXMXIa1iPR9lE8LBMFUCKQ6R62b6OuhAOla3iFtEbC+lRQQLYGzA0zxqn9yXzXezEoOjWLeRmML3Z3a7C41ZrUzdH+B4+CVXRCrfSGTQHIG7JIBOUMP5vTnjeLRxk6ki51GY68xoLA+FU8D0pVnIAOnO58ORronbhT6OePBZOS7AsnRXiIkHUsnVyAGVZMpGfTOBZScu9henfB9HGlhQYjKsqzCRChZlVlZSulxmFlAsatcPgZ489vaTVqIuGXs6BvPauLJgxuUJV07X+GdHOTTTYt4/iIt1edc9lcrzylgM3dvyorgEPVobLcKNTYHUC9tNPVWfycfmJYHCqGBCqxcKxUa2PZ0F+V6sf+sceFCLgRlWy5jKTcCwuLJ667btkTQuF4ljiACVPZY6X8KMDHjXsvp9U6+VZ58H3H8RLjCs8ccYEZIyFib3W4N/VTpwPCSRCQSTGUvIzqe0cqG1l1J2ty01oBLOLw8UsZWSPOrMrFSDqylWBIGuhUH1CphxEFsuV/PKbVF8dUNqwBPeQO78PdXQxy/THdvWMcdZ2h50Jt+dzfqJ/nmqzNjAGHM39nnVOCdji5AUYDqkOcgZCc0hIBvv2v53qUJKUmkM1SIsQh+MIcx/RyaaW3i8L8/cK7wuBEZYgk5jfXx+7SusSPl0/s5Pthqcmqgsq8OW0k51/SDn/VxH7/AGW7q5xjZZ1a9rRt7pIakwR7cv66/wDTiFU+KljMF6tihgku+mUEtH2SCb6geO/nWfWgBZ8RdLnxv7TQxMSGsykFTqCNQQdQQe6g/SXijQ4Cca36tlQ8wW7A8x2t9xzvvVXocGXAYYMLEJbv5m3utUoZLGcaGzDmiUG1BuHy3ozBVyYL6Tegp7pID/z46tVV6VaQk9xiPsljNW23oBAmCxLnGSgxst403IOitMFOn0rnTcW1oRxvgQkxkcxjz5VsNTowsQbbaW50fU2xreOHT3SS/wC6iR3/AJ7qyQ8ZOLtA3jpb4rNlXMTG4ttupHP2+qpeE4p5IlZ4zESPRLK2lhY3XTXuqfEJmRh3gj2qRUPCHzYeE98UZ/wLRFIOLmzYc92IT3pKv+qlLiU1sRMO6U+/Wm3jg7MR7p4D/wAxV++s/wCkExXG4of1kbe1E/GkyDwDGftnyqLrajWX5QeK/dVdpNaSwjJ0XlDGa6jRwB7PFR99NWFXuC+z+FZ7wbESASmzrd/nnuAFxdRpTRwjiyql5HN79/LTxqk1UmcsJ2th/icJaFlvlJFr+o99VcOAI1BNyFG/lQji/TKJU0NzfvHdQJumrPHaJVzDZTcXH1SDa/gazvjQeSsv4jhUKSPJrdjfc28tOVVOAOhD2tpKw0AG23L1UkcZ6ZTAN2VUjkxC+7Q1U6PdI5LODIt7l9FvvvuNam1J7GTSTP0LwEgwg3vcn7a6wTEGW4t2jbx1bWkDoN0neQKtz7LU5xuQJAOZJ18bny51XhfZuQj43DqDmubnKLbjS+1+f4UwYXDRlBo17Dw5DvqtiMKhWxvf6h1J15be8Vcw+AkGWwJAFrWC3211JPqrpkk1s542noiThKu5UAAFCDyJB0IuPOq2B4CgQCNTkTsABn0tbTcGu8TxIxMbix7ufv2oeOk5DG2i8h30qw30U+ZXZZPB4w12BBHi33mvfyPC2W65srZ1ub2YbEX511gulha+Zb+FGoVV9SgAPdp/CpyxOI8ciZBh1uRpVPEcYK4nKgR9BGR1qKwZS5ICk3Y2ddOV6KrgBurke8fdSZx/ojE0pfqhKys0mj5CGcksfMkEnzqCg09FHJF3jHGocPiIpsU/UXR1XMxIbVL2VbgWuNfKvm+EXh9v/lR/4vwpP4z0Kw+IaNXD4ewY3DFy1yosc97c9qEz/BbhwxCzS6G1yqkbE8vKnqgckP8AwHpLFiJp/iny5GVmbMygAgACzC26nUCrs3GwZ8rdWjIrIV61WbM5jKgqNVuEO+9Z9wn4PQplKfK2Krv1ZvYE6Abaj2UT4b8HYXFx9ojOwYgMSDkKtZtrjbv2oJM3JDbxWxjOgNxz1Hvpe4FxbIgUKoFz2F0G+6DYH6ugPKx0Lpxfo1IRZQD5Nb7aRsd0cmS4ysKnlxXtdjKVdjfwzEK1mQ5lP3Gxv5HQ93O1MeGOn8+NZXw7EyxPmBAfnmJCyW5Np2WtoJBqNiGG2h8A40k6m11dbB0bRkJ2DDuPJhdW5Ghiy2+MtP8AnQZR9XRS6fcQ6nByvlZrLsqk2IOYFreivZ1bler2DxvWxrIFZQ4DAMLEX11FRdLB+aT3/onPsW/3VOkdlAUWAAAGugGgroEKTj88Xxw7e6RP91X8/wB1L2M61cdETKgQpLoVscg6osuYnU3s19LBT30fQXI8QPvrBPU1t6qpdHz+aQeESD2KB91W0NwQCLi3jY8rig3RKGZcOBNKr7hQqZMoVmUi9zm1G+lEx90vx5iw+YLm+Vh0vY/pUbS+l9LC/MikLpZPmxk7ZWTNHC+VxZl7KaEXNiLVoPSSNWw0uYA5RnF+RXUGs9+EviXVcSNwLPCl9AdLuOflyNTy9Dw7Lkc3bi8Url5NT51SwnFYnyWIBXYXIJH6ramiLQITe7a6+j/GpKSKUwDPxJUUhJG7zZQtz33zMT7BXuHZXFy7E+Lfwq7iuFwRqcsbse92NvYgS3tNLZx2ViOyB5ffv769t4F3R898yXQ3wcOh6slpO0B5n7SBQDGM2Y5GGX6zX9y3qjFx8E5LljroBz5ab0NeafnaMd7sqe5jmPqFc+THR04m34GlRMSpSdu0NBIq2YeBJ9IeNqlTo+uGszA5W0Dk3U37ioAvSrK6Xu85Y90ak/4nK/YaO9Hem3UKYGiaXDOflI5GDEj6pygLrrty5b0kMey7ujR+jOHSJRJEA621yksw9WppnfpFEgAbRm2BIHupDkxhy9ZgH+RNs0QAV1J+ZlGrfzq1WcFho8UihgwXUlrqpjPIHMb28r11LBFK2Q+bK6Q4xcQCm5FjvYD7z+FccR6Y5LC6tfla/v0FCIsE5BUsSiiwksVv6zq3nUGE4Kj5mDBgOQP30jhG9lVJ1oN4fFx4n0gb21/hXX5BiZdAQO/+NQ8LnSK5IVeyNtTfnqeXqFVcV0qDEgX3HMX3GmvPXalad0jJ62X24R1Y7HdyGt/OoMfxlhoEY230NVYukThspve9rc791W4OIBz2gF5k3t7b6UGn6NrwHvxWYjUNl7l5+vlVjg+Id5SuXSwPMnc7++iUePgzWkZbcmsQP3hv9lVMbw+SbMI50Kj5sRuD5gan30v7AKnFWgWVWLXZb9lNTc2tdthax796hk4pGW1iUag2vck/yaoT4CVCQLADuHaHnmoVNhpEzHS+5Jt916KxoVzfg6wcQS7ErlzEHQg30HK3h31Y4bOHxkZUjKqte47QJy2ty/8AFJPCzKzWSzD5xHor45vDe1OvQoR9a2T5R9i52HeFH3mhKKitBjJyaseMQmlKnFF10NNmIGlKfFsRlJ76hAvkBGImSLWSzE7IdfWb7ChJxoLhkfJIuiuoHZG+Urs8Z5qfMWOtW8XDE7FnW5O5DH7K4XhKSWWJih7itx7R9tqjnwPIt/s12hsWRRLeM6TAw5cQsYLHI6iSy9WRZnVj6Q7l9LW24uVDgnTjhsxcSxywZbWzyTyZr3vYITa1hv31a4hwZgWXPG7KdVV1JuPqtY3oWmC6pSWiKA8ypF+7QikXOKqW2VuLeiPpZ05hwrxNw9UdisgdpEmNgclgOsI3sb2HIUG/96uId0P92f8AdV3iEEb5cwB3sR945V4OBQkXCKL/AFb0ryNeDcQSfhZxt2IWFS5uxWO2Y8ide166PdEel2FlWQ4+IdZmuvVwXBBuWuF55u/vqtwTo5DLiljdBlJIOlr9liOemoG1TYzBLh55Y1ijZQ9hcG9rAjtKQedUhclaQkvp7LvF+muAjkjEWBWRWPaZ4+rK6gaDKc2hJ5bUM6d4xMZMkqSRkqhQqMy3AkkKWzgXOQi4vveucY8JALRMtuatcexlJ99UuJwQ9gq7C4v2kH2qx+yjOE6NGcbAqxkC23hy9m1Sh27z/PrqycLcDLJG37Vj7GtXvxGTuHtX8alw+w/IcOMQRj05ifCJGa//APSZlHsQ0icTxCBzlU25B2zfYFX3VHLxiRn1YnXnrXHEptBprbewr6RyUou/DxoY3GatER45IBYEKNNEsg7tQtgfXVEKGJJaw9/sol0e4A2KZlUqCANWJ01HIDX2irE8WFgbKyyzyDe5ESf4SzH2ivPlbO7S6BdktZQzMe/8BRLDdH5dGlyQKdbzNkuPBfSPqFeP0gkGkQSBe6Jcp9bm7n21Ti1a51JOpOt/bRh2JJ0h16O4/D4WQPHJNNKOUYEMRHczPmZ18MorReG4iOdRJaOGQnUKBqe4yFSdfGsiwjqo9G9OHB2Z4rLZAea3v7TXpPCnG29nnrM1Kq0WuL4qaHEkSAjMey4JZfAFu7voxBwq0XWJZZCO2Va6H1t6VXOEY8yZcO4z2HpvZ28N9PdTT+QkWE5mbJubWzeNuQrjyZOLqR1Y4WrRng4VNJfZcoB1vlPr3BqSFCWDzSrHuq6G/cdPI6Wub+VHeK4781LQxRxqFaxN5HOUqo1IspsSb2NrDzpLxOJfsqLHMobMQLkbkEWtztpYeFJGXNjtKIYaGNW+SZmAFsx0bkTYb8+dqikmFrg37ybFTyFhbfxqDh2EMpyaKbHbY28LaUSgwllcsTZOybWNzpYAEWt4+6n6F7KEnEmCkING0zG178/5FDmnljPyburHmL3NtdR3fjRyyqRmQEG/okgj1m96ji4YM4FgSxyrckWJNgb2O3l7aZNIVplPBdMJlsuICSr9ZbE38RoO7QUV4lFhigaTrIA+hQspNjva9yB5n2VaxuCjwJRQolxDAlXcdiPvKr36fx5Ui8XjeWRi8hY8ydPHS3LwqMmpO0PFuCaew5xrDs8XVQELCAMojN7jvYGxa/spt+C7D2U6fz5VkOAndZFAdhqdibHuuNjW19DOLhcOHdb6gdka6kAc6nO+AcdOdjtJsaSuPvbNTte4pF6ZCxNc+Ls6cvQjYziBzVe4nxz4hhht8Ym0QfRHNj5X9pHca84DgFZmnfUR6geIBN/551nHHONNiZ2lbS/oj6K7qPx8Sa6JM5Y62Sz4pjcn131ueZqfBdIZY1ASV18Axy/unT3ULGI0N6iVwRppU3bGTSDUnSc3BeKKTvOXqyd+aW+yrUHH8G2/XQnwIkX32NKsj7V4jAMGIvblU3BPsqpvw0TgmHQYiJ0xCNZrhSrKzAgiw5X176o9KZcmMkP0greqwU+9aH8IxN8RCRfV095FHOkckQmHWQh7oO1mZWFi2lxy9VNGHHoLlyWxcxON7B22oRicQpVTtTTHwWCckRtLGTyYK6+0EGgnHOjUkEYLMjDwuD7LffTSToVfqBjJXPXCoSCa96pvD2/wqLRRH//Z"/>
          <p:cNvSpPr>
            <a:spLocks noChangeAspect="1" noChangeArrowheads="1"/>
          </p:cNvSpPr>
          <p:nvPr/>
        </p:nvSpPr>
        <p:spPr bwMode="auto">
          <a:xfrm>
            <a:off x="1644650" y="-1017588"/>
            <a:ext cx="2533650" cy="1809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latinLnBrk="0"/>
            <a:endParaRPr lang="en-US" sz="2400">
              <a:solidFill>
                <a:srgbClr val="292929"/>
              </a:solidFill>
              <a:latin typeface="Segoe UI"/>
            </a:endParaRPr>
          </a:p>
        </p:txBody>
      </p:sp>
      <p:sp>
        <p:nvSpPr>
          <p:cNvPr id="7" name="AutoShape 6" descr="data:image/jpg;base64,/9j/4AAQSkZJRgABAQAAAQABAAD/2wCEAAkGBhQSERUUExQWFRUWGBoYGBgYGBkYGhkaHBwWFxcdHhgaHSYgGB0lGhgZHy8gJicpLCwsFx8xNTAqNSYrLCkBCQoKDgwOGg8PGiwkHyQsLCwpLCwpLC0sLCwsLCwsLCkpLCwsLCwpLCwsLCwsLCwsLCwsLCwsLCwsLCwsLCwsLP/AABEIAL4BCgMBIgACEQEDEQH/xAAcAAACAwEBAQEAAAAAAAAAAAAFBgMEBwIBAAj/xABNEAACAQIEAgYECQgIBQQDAAABAgMAEQQSITEFQQYTIlFhcTKBkaEHFCNCUmKxwdEVJDNygpLh8FNjc5OissLSQ6Oz0/EWFzRURGWD/8QAGgEAAwEBAQEAAAAAAAAAAAAAAQIDAAQFBv/EACkRAAICAgMAAAUDBQAAAAAAAAABAhEDIRIxQQQTImFxUYHwFEKRsdH/2gAMAwEAAhEDEQA/AMRsD4ef40XxHYw1uZVF/eJmb3CIUHhjzMBtcgUW4xjfQWwIIMhU62zkZR4WiWPasYDVNhYszgHQcz3Dcn2V6yKR2TY/RP3N+NvXVvhuHtcsN9LfVFi3tOVf2jWY0avYYSXq4nZkLLcEWBDC40GbeMKm4HMb60tu4Ddi9j37+I0386Icaxp6wKrH5O4uNLufTPt0/ZoTTN+E0rbk/QlhJL78vef4X9rVJPiVkNn5DRxv4XHzh7wLa8qHJNYWFcl61g47L85uAJe0NklXU2HL6wHcbMPDaqsODZ3CJZiTpbbz8BX2HZvRW5zaZd7nlp3+NPHAejxiAUDNM9gba/sjw+2pylRRKwn0L6NqZI4htfNI3Mhd/LkB51rQiAACiwGgA5UJ6NdHFwyXOsrDtHu52H486NUsV+pmyG1eZanyVwUpxTgCvq7tUbSW8axjosALnas06a9KpMU4wmBYm9+tZdAR3Z/mr3nn40X6XxST9jrxDEp+Wa/ZC8l8WJ5a+VLmDzSq0HDk6nDr+mxT6FhzOY7e38KpGNojOdOhaikhwpC4VRicUTbrLXSM/wBWh9M/XOgtsa5wcatNnmz43EsbiMEut/rP8+3h2Rbc7Vd4zwNYEzxmT4swytKIyGmb5wUnaO9rE2XwY6UL4bxFwwjhHVBtAF7RJ5ZiR8p5EZQdgKZKpGbuJoQUdWr8SnVY7djCQnRvA5TeTyWy/WO1GjxB3TJJInC8IqX6sFFxTx3+iNIFJ8L+HOljo98nN+aQnF4sgZ8RMbLE/MFjdRpyU30sSeTJwzgcUk5d0HFcbcZioC4WEgWVXkN1IX6IDH6vOjIESXhOIllRo+FQLhcJa74ue65rXu4JOeQ63zE201NtKk4F0cWKRxg4TiMQpIkx2LBEaEE5hGh1cg3HZAGmrUZlw6yyZMQTxCdLWwsIy4SE8s9zluO+Qs3cld8cKlkGLZ52JCDBYY2izm1hJIctx2k0kZRropvakKguCBDMWhDcSxYNjiJCBBCe5WHYS30Ywzd5qljIVeW0hbiWKU/oYwFw0J+tfsDzcknkBR7HQM9oZ2ygDs4DA75eQllGUhf7tPE1HNgiiiFrYdPm4PB6yEf1koAy355co+uaZE5CzjIi06DEymaVWUrhcKD1ceo1kbQmw5sQNNjS7h+HBZtQwtKfQuT6RFgRy+69NfGcQuHQx9nDJv1GHs0zeLyfNvzP+KqcOAujsoK9pyLHUdo217/xroSq/wAEb5V9mFcA3UJZeqwMZPK0k7/aL/vmi+AlC9uKMKeeJxRLP6lJuPIlB4Un8MNnZgApzEGSQ5mOp2uftv5U04GRbhrZmHzpNbeS8vdRcVQim2wxFh+t7RD4kjUNL8nCp7wlrHzCn9ap+GKTn6xhISb2i7KakgAkG7aKNydhQDiXTnCxD5WTrCPmjUewdmkfjHwuS3kaA2RzlA7JyZFXY+Oa/q0pODKKS8NdxvFUhTtOkKdy2Hv5+oUuN08wQNs9/GxrIoIuIcQbsK7Zj6Rvr+0d/wBkXot/7Q43nMgPMGQ3B53ub06hFd/8M5Sf8sUsR0SV9YJNT8x9DqbaNz9nroT0gwzpO4ZSouQtx81eytjseyBtTZwrHZWv3KxIKg8uzuPpldd6vrPnARgJAbDKwv4c6SWKMnrRDH8ROCXPZmYF6Y8PKYYy1gwQDLzBOoBHd2sxN7aKKK9K+GQZlSNArjKgKiwNhqTbQkD16amhnGuHzIkRS+RtgpOYltALfO7NhpffXeoODizujmU40vR06LcAwk+AVGWObUszLpIjNa923BFrcgQBpS9x/wCC6WO74YmZBrlNhIPVs/qsfCk/C4ySF8yM0brzBKkeH8Ka4vhRxHUNGyqzsMvWDskA6E2Gma17EWseVLoamuhMZbaGvKsTxpbMjHxVvSHkRow8dD4Ub6K8GDnrXF1U9kd5HPyH2+VI3Q6CPRbgRjyyOLyN6C81B8PpH+d62Pot0Y6heskF5mH7gPLz76q9Dei+S08w7ZHYU/NHefrfZ9jflpUr2wt+EJSvClqsdXXYiqgpTNem1Aem/HXw8doBeQEFjlzrGuoBkUEHXkNL235HFsbJjsVKRiMQxRQHZnktEFJ0IUWGtiAAL30tW4urF5K6NY4z8IeGgnSAFpXZgG6sZsl++3pH6o1t7Kk4zx5I1u7MitoqqLzzHYBFH6NSdLnXyrIhikiQjC/JR7PinHysnesaj0R4LrtmK0Q6OcQEJBGTDqbHr5rvMQDcFEG2uo2H62t2jFCybSHTiPAmmMZxYKRX/NsFCp6yQmxOc7A23JNhzNqJ4iJI+rjxKCSTeHh+HF0XuZvp25u/ZFtjvU/CsUqQmVCYIW7UuLxJ+XmOoHVofR30LWUckN6qycPkALITg8NLYGaRS2MxDWJORD8o+bSwI01sttaf7CVZQ43KHITGEyu36PA4a5C20Gdh6RHfootzFJeP4HLAxiZFRsoJQMGJB1s7KdT9QWF+RrSMPw9cOMqq2EEnzR8rxDE+JIv1Q9tvq1Bj+DqQIurWFtWjw8a9diXYiwaV79kd5Jt9bS1UjT7JytdC30XcTRdXIJpBHvh4nWNZbkBSwuosNiAQO++1P8JNlglbKAOzw/ADUDl1swy5F79Y18WpOl4K+HkEyrYqbOvjsQfA7edPXBYQY1SHMsLDMIsNH1Jb6RmxJOhvcHKVY2+dQyRobGyyiEAQEiBQNMFgtZLH+lnFurB8Mg+u1ccX4Wow4jMKqiywuuHw75HDdYgzvPoAwvm5ElbZjejWBw6qmSMKqjUpB2UvzzzaFj3kWPfeg3SvEsYXijyhApzKg0ZiMyqGO59Ek6Dtr41EsghhoBGvVqBEL6w4ftSE/wBZMdieZ0P1jQ3iEhUFE+THOODVz+vMdj7D4mlfhvSHGxwrGYZTYa9uDtHmSc4Jvuaml6RTsuVsNKB3K2HX7JRTQkk9iyg2tAHpG2RSDliHNU7TnxZu/wAaO9GQHwTMPok+vq1b7SaC8Twkbo7yYWfIgzHLJHm0DFiMsttANeeotRDgePMEHVx4WcRkABSY3axXfMZNrG2/KqTyqT0TxYXC2zPMd0yaKaUAC4kcD9420GvvFUjx/GYs5Ezvc+io09g0Hrp0k6KYRpDI+BxjMTc3KEE+Qko6nGfi8eTDYSeEC/oRKpJO/aDFh+zapwfFFpwUn0JWF+DDEsV+NOIQwvZiWblayKCSTfSwOxpuwfQfA4IB8QRf5pxb9UD3ZMMl5ZdzoctMnA+jryQJNLizhYpALpCqxTMdm6zENeQtcHRctFuCwYCHt4LD9dIwv1oBdz4tPJdveabm/AcV6C4Jp5xlw2FmkQ/Ol/McN59Wvy8o8Gvepx0Ox3/6tfAYJiB4Al7nzpkw3EpWmVZXiiNi3VBg0hA3J8PGwq+eNRfSpbkFJH5iGJQRsWFiWVNLD6TnvB1VavcIky/Khgch0Vri55bE21I1F/KuMD0KxGIBjV0RlVXCyAjPmGW4I30jve3zqo8a6PY3DIFeF0A+ctmjI3HaXQc97VSOTVs5J/D26R6+IE0+ZjlCaFtx3sbi3fvpRjAQ9diC4IaOHRe4udT5gDl4+JpR4XxYwoxCtmIsD9b8L/ZTX0cwyGJerY5h6TocpLHU5la4bf5wPqoKVjuHFBHifBocRpLGM22bZvUw+w9kd1KfFPg8kXtQMJF+iSA3qPot5nL5Uz8Z4lLh4iSqy8l0KsCdrrqCO8gjwFRDiEiwhyvbK3yqdL+Z/jUpyQ+KMvDOYuFSGURFGV76hgQR4kHYW1rc+gPRJciSuOwnZjXvI3Y+v33pa6NcDedhpeWTV25IvcPqj3mtgwuGWNFRRZVAA8hUV9TOrpHuSpEFdqtVuMcXiwkLTTNlRfWSeSqPnMe77qoKWndUUs5CqouSTYADcknQCkXHfCIuIYphnEcIIV8S2UGx0PVK+/6x8wG2rPum3TOfinZiNsONeoXR7jnIv/Et9W6juBoR0eQqc73sPRfQhGGotHvIdtARbe4q2PHb2QyzaWjZeG4xYYsrDqcNs2YZp8Q537Ju2u1zdzyAFjS/xb4PklvJCmW9rYVzq43DWGwAt2QdxuNqLYHBzwKkkgJQi/XuGeSzADLHHlvHew0Itto1FIcUQypGWUuNUBJxEh1v1jaiIXA57E6ptVGnEipJmN8d4G8UhKqXe+XtgDqu4LGQBYa6kAD6ItmoFHhcrdY5LPe4BJNzfe+7er94VvWO4CMXZp8gKgX6u3VRrcEiSY/pWO2Ud+t9DSn0o+DRms8O9uyNQjC5PZB9DU3tsb+N6RJMo5SoEdC+lq9cGkKBx6M04aYpytBh10zdx38TsdVw82QhiZEaQenL8rjJtCB1cC9mBRmPKwvqg1NYDLw50c+lHKp15Nfz5ef/AJp96BdNFUGGU9WTbMQwiz/2uJYmV/BUA9lGcGDHlXQ9T8LZSRGHjL2zdX8rjJdFJ62duxABmHM/VI2qDA4UAMqgIt7ukLEC/Pr8Y3aY94XXzo0ljFlQKFYaDJkTWxuIv0kp03awProVxjDkEEm9vRzAWXbRYh2VI7zrQgr0bI62ibD4aI2WyZCMvYUJEBroGY5pGJPpAeyhHE2/J75JLGJmBUsLrfYEi4v9FhfexqljulcMJJd7t4nM34J7vOuY+luF4xg58JLIsM0YzQuxvm5C3NjfssouSCCLnajXHsnF81odMLx+Jo1kdwFsLdYV08BEhygjbUk1QxC9YuMuSSBLv3ZEK6ctD7qQ+hnQbGjErLi+xFEQQhPacj0dN8t9dbXy+NaabBHB5owPrRR91Rkl4dGO62LOGF1U+A+yk74R8OzGAqCdJAbA/wBWRsKdMEziNBYegtwbgg2Fxa3fVhZn7h7f4VFaZZoTOgUJ+JSIwIJeQWIOzInf66JSOfiCsCVPUQsSpIPzCbEajS4phuzEXtbbfy8KVcXA78JyoVB+LWOYE6IpzDTnpoeRrBQWbgQB/S4j++f7zQXjEow0sK9ZiWLtlKkvIpVkkUa2tcPlO97C9MXDMM6wRq5BYIoJAsNAOVV+NrZYifmzxH2sE/1VqMAOj3GXMeGijwBxkxRC0kmZ0QZypsALD0bkkjXXWm7EcI4pOv5xiFw0Zzjq49DYkBBaM9oW+uD9gv8AwXyNHgTGQQVnmUXBGmYlT5Eaij2KUsrk6kN7gRaqxEasDcF4FHhbxxr825Y+kx1uSeev20PeMgnfemiYBZb960BmiOZvM/bVExaMPg6cPHO0clnw4YqMy5njXbMh3GozWvamDG/CM2HWIYaYYga5y6ta2lhdgDcCswSZibd+w3HlaiE0dktk0PZUg22sWOvIk/bUE/EUpdseIul/C8acuMwvUSH/AIsR08yy2PuavOK4+PhyBsLio8TGXy9UwUuOZ+UjIOmnpDmKzsYVSNHF+5tPY2xrh8E4Ga117x2h7RtR5MVxTNIwvTbC4tepkDQM9gT6S7i/aUXsR9WtAx3RGCaFBh3GgAUrZlPsOnt0rLPg/wCibTr1iLnc5rcgijQ6nmTpWzdGuADCprrI3pHu+qPAd/Opt8uxopR6LXAeDLhY8g1Y+k3efwHIUVU1yhrnEYyKLL1kiR5zlXOwW53sLnU0yM2WVsN6RfhO6OJjYld8UcOsNyubWMk7kgWa9tAQTpy1NHulvGRDF1aXkxEg+SiT0zqO1sQqDcs2mlqWcH0dkZ1m4iwxDixWFTaKM8rg9mQ+ZGvI08UTk/EZnHwCZE62WHPCAGSYXQE3y3LmxCaE2YAnS1i16O8E40olSSy4gxtrJaxTW9urIswuDqRfXTLudKxPS2NSUQCSS2qnsog2sQdWO+gvtyoJF8G3xomT/wCMScwdBk137MY0Hnp5mh/WwhkUO39vPyM/gsk8fPpff38Gi8C6TQ4pLqRfmD+HKo+MdHs93iNm3y3Ko5FrZslma1tr2rKpMLicFMy3XE5RmLQG8irewLLv3XLADXemXgXwgidcqy3NuWjjzU7+Y9tdLxV9UGc0cnJcZrZf4fxESNkcZZI9BdVJTtakQC8cFh85zm02NX+GqqyS3tdyhZuszl+yoGaQi/K2RBbTek7ifBHjUywG9rtbdL9+Q3Ct9a1TcNV8QpkM8qscoYWiIBCITYtGWtrzN6lOltD4+TdMa+kHQrD41e0MkoHZcCxHmO7wNYj056Hz4Jh1gtr2ZF2PkeXlTfxjjJw86wmXEEvlIIENu0cv9FRcYeTrJA2IlKqikC0RtfrL7x6+gN6EczS4+BlhTfL0zjon8KkuDBjkXrE7gcuveSBmb1k0Sm6Q8Q4oGEMTImmVh8nGuvbzOSBse/1U6wwTEBgZ7EAjXCDcXHzK5R7uUdsY2hBSIx57jqTo0SqVBEgu2YWAOorKewvEq0J+E+DeGIr8exJeQ6iGK9yBqbDKZH05pGR40/dHej8kYBweETCp/S4jsMR39WpMr+TSRDvWrvB0hiB+LRRRFgCSbPNm1zZghZm0tqWve9EcMrSy3ZWZQLsztZQeQWMaHX6WosaLlaBxpnrxOtw8nWNckuEVAT4KvIDTUk6b10sV/Kp5F19v31aiiBIHj/v/AApCoocKQmGP9VfsFWurqpwqE9Ump2t7LirfxU+NTHOWS1vOgmHwx+JshBHYnWx7s0gX2i3to5JAdNTvVHAKXVgxJtLOnqDvlHqWwomJOHnNFGe9EPtUGq3SOO2HLH5rxN7JYz91WeA64WD+yj/ygVD0pwSSYWXOoYojMtxsQL3HsrGCXwcT5/jYLFsmLNje/ZYXWx7rWtTRjH7Mo8QaS+gxEWIx0aAKvWRMoGgA6pbWHdpTNNMTcnnv76eKFZxO9yD4fdXJhBqCSbRf55V51pqgp+XuFwM0m1yov432G/ifdXHEZlLWBNl0G1jbc6HvvWmS/B1xHD4WTMnWuTZQwaSy7Hky2tfQkC58r55xHCNG4SeARMdytxp32BYeoAVHjRRuwaYDrazW1Nqk4fg3lkCRi7H1WHMk8hV/hIgXGJ1knyIk1cqSLfSy2v6rVt/COikEjjEIyvDIt1ZVKlxfncA2pWYt/Bxw3qMEqZTfMxLkavc3v5XJA8qZcRjI4lzSyJGve7BR7WIqtxLE9Th5JBlHVxswzXCDKpIvbYacq/M/FOJzY2ZpZWLu3M+io7hyVR3VkA2LpV8LGRur4cIpyp7bk3XTXKiggt+uDbuvvWY8W4jPjZ+uxZcufQQdkIvcAdI0HffxN96u8B6BzzxGWCMyFTY5SufYG6xscwH18p8Ad6sYhsXh1yzI6LYgwyxl1IHP5TtA8+QHKw2dIVs74Fx5oQXjlOc9ljlJQRqLgasGbc6tYDuo0nwipKQsrFVtoUuBzU52FmJy7iwGtKv5YwsoCzYQoBoHgkKkeJR7qx9Yr38h4WW3UY1AT8zEK0Lf3gzR+u4p5RUk1Imm4tSibLwvivDliV1JxMmiqoTM1zf0VGijQ9okW76JjgeNxIJllOGhOohR88pHc0/zARyXN58qwPE9HsZhu2EkAGueI9YvnnjJHrNWOj3wl8SgYRwSM9zohXP59nc0kcUMSqCHllyZnc3Z+kOF4WHCJlSIQruWGoJ72f0ifFqV+mPR/hmKe2VvjW4bCfpb8i2Xsnzb2ig3BOl0+Jt+UVZFIFo8O2UsdjmRLuR4CS/1a0bhvC4BGpgTqVIuAq5D+0pFifMGm62xdvSMyfgXFsKg7HxuEi1w6x4mPkC1syv36ZzRHo/nEbZl1L30BUHsR6gMAbXvyG2wpwx/E5IiQyxqNg7sFJ8owSWPkR5Us4GXNJiCzE3nbWxF+zHyOo8jSydoaPZ5iODxSuHeFWYWsSdRbUc++o5g2ebKBfqksCbD/wDItcgGioK959hqlYdZIb3uiC2txYzWPkbkfsmkoc74KG+LQ57Z+rTNba+UUNj6NxYjFtE5eONs+cxt1ZJK4VgpYbBiG89aL8LN4Yv7NP8AKKF4fiqw41nnURxgut3ZbNmjhHIm17DfvrJGY68O6JYXCxdXBCqKdTa5JPeSblj4mr0OGypb+fClLBcawXFHGFilnPUnrGCsyqVVhdH17Sn0bHW21OmJewp99CqnsHvDdlHeD91WOoCkef25r/bVET2cHuP4VZknvbzFYIucPj7OuvacekBs7Ab+AtU8kmlhoPMH7qh4thkGBlkYspR37SAFwOvu2UEgXIJHrr3gOFgkifKzOA11eT07FUOUnnYn325UAkDxkfOJ15+Xuqhw9spmNicuIkNhuboj6eJze+izwKOQ3H2ih+BUdbiARtOh/eghFYxS6GY1pcKuaJo8haPtW1ysV2B0Olj43teinE4c0Eo743HtU1Hwdo0jZbop6yW4uAb9Y419QHsFWMY4ZCqSohPM5W89Caxgb0e4gxxUqFrqIMO6DTTMDm8TcjnTBJJr6qSui6smJTO+cvgYjewG0klhYfRVgt+dr01yS1SIrInfsjzqYT1SMmnrr7rKcBgeC6e42C3U4qVAosFDsV/da4qt0l6Y4rHsjYqTrDGCF7KrYGxPogX2G9WJ+BkaNhJAf6uUW9jKx99VH4VGPSGIjPjEHH7wZfsqLb9GVeAkmiXDek2Kw9upxEsYHJXYD929vdXP5NjvpPH5MJEP+Qj311HwNibgo6/UljJPqJuPZSDHv5RnlLh5pSrnNIC5sTvdgTbfmanjnyABSFU65iCC2nzdAT+tpuNqJPwiCxv8chHLPAHQebIwv52pdxy/KMFcSAGwa1rj9U6jyogLSYxl1QOu92Vrk763t3Hvo5gvhDxqIY1xshQi2WYdYPVnD291KdiPmke0UT4RgHxBIDHsi5Bs+nm1lX9phRTBRZXiL7mOKa2pIADe2Ig+0V58VjmXN1ckI+mzKY/a2Uk+AJNGMH0dhjZDI6DMwHyWXEycj2QvydwCDZVY+NamOg0RVZMO0OY65sSsgmUW1tdiF1+aqp5im2DRnfQPoQJp0yTZzckZG6obXNwwzsLbgAc60HHdGo8IrkxShdc10OVydrdXnllOoF2sRvc0J4D0ZUrLJiXd8uJkS6GRcxUkahGLZb3NrnU63p7h4y4jCJcIAR2zlsBtqbNR6QrdsSIMBjcQD1MZgVgP0hGHBtztGWna/czjenropgp8MPl8U8ulhHkVI156HtMT4lvOhMvSGIWBxCM2vYiHWliNxm325aHSvuH9IcRthsFI5bTNiGKAHbUG7AeWl+6pyu9Dx62MHE+keChcyNKiy3CEpZ3vYkKct7DfewoJwvELMZpEBAeVm7Wh1VDe3LlprUEXwdYyV3bFYtGV9ciRKMuoNgx1A3Fh399VsfwaaHDTxYYP1iy2jIKqcoEYJu+hFgeevfRdUZJp7D5iPK3toabCeUn+ijOgvs2I7tTV6CIZFDatlAba+awzbeNV40HXubadXH/nnoBOeATh8NCwvYxpa4IPogbGok4VBicYIsRGJEY3sTYXEatqBv6I9ldcLxJWGNRBL2UUHKq2uB2rHNrreqsHCJZcYhBnjDyAks2UqqoxcLkN1BAyb/O50EE0HhnBIMMCIIY4gd8ihb+dt66xW1Wm2odjGooDKNhm9Y+6pwdPLX/Kaqs4UF3IVF1LE2AA8TUSyyTkZbxRd5Hykg8FPoKfpMLnkBvTAA03Sd8M8qg4MIGBDTYhoj2xnH/CK3Op0Y3tyrqfF44m5hw399L/ANip+JdH4pmKzqkqdkrG6KVVlDBmXndr+q1e/kSG1urFu67ctudAJQefF2u0MFhb0ZZGNri9lMIubbC4qrHFileRzFFaRoiQsjswyAKbKYhc2A5+2ix4FDyQe1v91eDgcP0B7W/3VjAaPhc5d3kw+EfNYgMbkHndvi9zf7q+xGCMal3wnDlUbsz5QOWpOHsKNDgUP0Pe/wDurmbo9h3HaiVgdw2Yg89ibVqCAuH44vMhCYYII3UNC5kNlKkANkVVTW+UX17rGjLSVx+RYcPGxiVIkQMxCgKp7J3vta176bUGHSIN+iR5fFFOX+8bKn+KmToFBbka8zDvFBWkxMh/4UQO1yZW/dSyj941yeFy/wD2H9UUVveK3I3EW2lW4/NoyLciEP8AhFT9UHGVF6gm3bZ3cDv7Ivc/jWk4HofGgICK2b6QBtbzGm9dN0Kim7PV9VzzKttuV7Wtr7q8+LzId8WI0XRCBwB8YiNuTFBc2+i0Yt7a4xfwfQNa4gIH0bf6JD9gp6PwXpynceoGoZPgzblPfwK/xqnzMy7QOMTN5uh2DRrR9lzqDHOyADvJcBffV0fB/nGmJnb9Z4MQvsc02Yz4PHsQSp9VK3A/gxkjxbKzF1RQ4IOTVi9hfXQW5WNKviJdSjQyhfTIYugTIbB4JMx9F8GUzAC/pQgg2N9bmpeiXAZoZpmiX4uyOiHq5nUSBhmW3W3BF+Wlaf0T6OLA0hyrc5RcFmNu0fTcljvzrs8OSbE4hHAZbRix8EBGu9+1vvXTCVqybRk/TLjzxymPFpJGyWYP1MMmYHZiyqlxpb0jqKA/+q4QPksS4NtpOuiX2RZh7RWzzM5do7MsYLLcydYDZrWKuDobbHu8q7l6G4Oa/WQwyED0mw8eu9rMgU6DTltWWwCLwrioh4bC0kzQ9ZiZ8zRiIknU6dcyaa8hfbSq7YvhjkdfPjZ9O0ZY5HivuOygIB5U6cH6KK2G+LzRCxnmYKy3GRnJUj0gLp3699FH+DPANvAm2nZQWAtaxC3FUYEjP8T8NeCw46rDYIyZbAGyQKQNiAAWtYcwKrcR+FriYaNUwsOH64KUzBmJD2tqzAcx837KfH+B/AHZZVHcJWtzGx050YxfQyB5FlYyGRLZGLk2sVb7VF/XShdmS8B6R8T4meqadozoSS/VXGpYqERWNgNrkaimeHo7MMmUx5Rl60yGTNIAkYujo53IbtMCb8rAEm+F9DUw8olg1N5Q2cm9iHWwIGvata/LnU4kCgBiFOUCx0Om+lZPWzegibgJ5QweuSb/AG1wOjrHeODuuJJb2uTY9nXc+2jolU7MDpyINSXrDAiPo8AusOH0Gnak237u81xwHgjxYyN3EOjNlMSZcgIIAJZiWve1xa+txReTFILgsoPcSBXvDsQrTLlZWsRexBt7KxhqkOlB8fiQhtYu5Fwg3t3sToi+J8hc6VcxGIZtI9F5uf8ASDufE6frbUKkULcDnqSTck95J1J8T5DSigMqLhy7h5SHYG6qP0cfdlU+k31217gtFk/n30ORtavx/wA++iAr4lO0fX9lcMmlUukBYtEqu0eaUKSuW9jHIbdoEbgcq4/JL/8A2p/+T/2qAS6E19tRAVR4HjAXmj60ylHFict8hVfoAD9IJF23U91EFH2/fWMfL/PvrwDT2UP6Q4nq4b9YYrvGucEAgGRQ1swI9HNy5VxFwgsAy4vEMCLghoSD5HqqJghiUujjvQ/Y1LkWvjcc9ftonBA8eIVDNJIrxSGz5DYq0QFsqLydqDwttSsZE2fSus1QE71IDRRgrgjbigAuAInJAJttGBcXt307xy1n3CsYPyhKzFFAjsDnB3a3O30aak4tH/SJ++v41DkkZRYWxkto2INiAao8NnZs92c9twNrWBAGtrA+FUuKceiELnrY75bi7r3jxpc6CceiTBxxtIgcAMwZrN2rWOo1/hTck1ZqY8S/rH/D+FCoP0836sf+r8aQ+JdN8U+PljwbxvGijQ2KC2XMbll7VzarHDek+KbEPGwiEhXMbLmBAAsLLIT869h3UuSDSU30aE024r3RpGHltm05X9n/AJobgpgmMxJchVLIAToCerhsLnc60uTdMmySKCvWLdWIUkAWBbTw5nYd2hqvxnEGSKFpNWkxWHOoA1yw622HfXNP4tQcFH+51/so8TW2HMdKVLNv2jz+saI8PlvEpsNV7/Og3E3ORjv2u/U9qp+H8SXq4lzBXdLqjHKxygF7KRc5bi/nXonOMMMhzgac+dWHbKCzPYAXJNgB66H4S5kF7c9jVnGYQTI0ciKyOpVlLGxB3GgoDItgeNe5T3/ZVYYwC4uoKkA3awBNrC5G/hU2Zu5f3j+FKEgRAG0+kT7SSffelLGNC+PljbI7hFOUqGKjPJrqNL3H82psDdr10vyr+eSn6if55qCMDxhCuKXKsSoYn0VLMTmi3YG1vV30SIqKVfl0/s5P80NfYPiMcpbq3D5GKtbkw3B8daYxTweCvJOXWNh1mnY7XoJuTe+lvYe/T3DNEuNSMZQ5RTky2uvWb7WPPSreBW7zf2g/6UNcydnFIQL9i/naWP8AGsAasSdKB4ga0QxE3ZFB5JNaKAz2Ia0Si5ULhOtEoTpRALPTnETIYDDGX+XjuQwBGuW1jqbhm15WuaOA1U6RH9Ge6aD3uF++rVAYG8PQCfE2AHajOgA3iT7waIAb/wA86o4XTE4j9WE+6Qf6autMo3IrGB3SFQcO9wDbKdddnQ/ZeiOW2g0Aqh0gH5rN/ZufYL/dRA0TC9xWaZeIYQxoXVllVruFUfoyTsdQtzb52Ud1DwbNbuJFMPENJsKf61h7YZvwpana0rjukYe80khokrHevr1HfVq8D0AmeRcJDOTGshVSpGgvrpbw7JOvfyq3DwKYvIVkYIASB1YZzYEgFQ411Gg/EU+8IwSZ37CgA8hRzC4RASbDU/cKg4Rb6LxzyiqRj8fCHw6yMVnmYoVA+L9lS2XXMXIa1iPR9lE8LBMFUCKQ6R62b6OuhAOla3iFtEbC+lRQQLYGzA0zxqn9yXzXezEoOjWLeRmML3Z3a7C41ZrUzdH+B4+CVXRCrfSGTQHIG7JIBOUMP5vTnjeLRxk6ki51GY68xoLA+FU8D0pVnIAOnO58ORronbhT6OePBZOS7AsnRXiIkHUsnVyAGVZMpGfTOBZScu9henfB9HGlhQYjKsqzCRChZlVlZSulxmFlAsatcPgZ489vaTVqIuGXs6BvPauLJgxuUJV07X+GdHOTTTYt4/iIt1edc9lcrzylgM3dvyorgEPVobLcKNTYHUC9tNPVWfycfmJYHCqGBCqxcKxUa2PZ0F+V6sf+sceFCLgRlWy5jKTcCwuLJ667btkTQuF4ljiACVPZY6X8KMDHjXsvp9U6+VZ58H3H8RLjCs8ccYEZIyFib3W4N/VTpwPCSRCQSTGUvIzqe0cqG1l1J2ty01oBLOLw8UsZWSPOrMrFSDqylWBIGuhUH1CphxEFsuV/PKbVF8dUNqwBPeQO78PdXQxy/THdvWMcdZ2h50Jt+dzfqJ/nmqzNjAGHM39nnVOCdji5AUYDqkOcgZCc0hIBvv2v53qUJKUmkM1SIsQh+MIcx/RyaaW3i8L8/cK7wuBEZYgk5jfXx+7SusSPl0/s5Pthqcmqgsq8OW0k51/SDn/VxH7/AGW7q5xjZZ1a9rRt7pIakwR7cv66/wDTiFU+KljMF6tihgku+mUEtH2SCb6geO/nWfWgBZ8RdLnxv7TQxMSGsykFTqCNQQdQQe6g/SXijQ4Cca36tlQ8wW7A8x2t9xzvvVXocGXAYYMLEJbv5m3utUoZLGcaGzDmiUG1BuHy3ozBVyYL6Tegp7pID/z46tVV6VaQk9xiPsljNW23oBAmCxLnGSgxst403IOitMFOn0rnTcW1oRxvgQkxkcxjz5VsNTowsQbbaW50fU2xreOHT3SS/wC6iR3/AJ7qyQ8ZOLtA3jpb4rNlXMTG4ttupHP2+qpeE4p5IlZ4zESPRLK2lhY3XTXuqfEJmRh3gj2qRUPCHzYeE98UZ/wLRFIOLmzYc92IT3pKv+qlLiU1sRMO6U+/Wm3jg7MR7p4D/wAxV++s/wCkExXG4of1kbe1E/GkyDwDGftnyqLrajWX5QeK/dVdpNaSwjJ0XlDGa6jRwB7PFR99NWFXuC+z+FZ7wbESASmzrd/nnuAFxdRpTRwjiyql5HN79/LTxqk1UmcsJ2th/icJaFlvlJFr+o99VcOAI1BNyFG/lQji/TKJU0NzfvHdQJumrPHaJVzDZTcXH1SDa/gazvjQeSsv4jhUKSPJrdjfc28tOVVOAOhD2tpKw0AG23L1UkcZ6ZTAN2VUjkxC+7Q1U6PdI5LODIt7l9FvvvuNam1J7GTSTP0LwEgwg3vcn7a6wTEGW4t2jbx1bWkDoN0neQKtz7LU5xuQJAOZJ18bny51XhfZuQj43DqDmubnKLbjS+1+f4UwYXDRlBo17Dw5DvqtiMKhWxvf6h1J15be8Vcw+AkGWwJAFrWC3211JPqrpkk1s542noiThKu5UAAFCDyJB0IuPOq2B4CgQCNTkTsABn0tbTcGu8TxIxMbix7ufv2oeOk5DG2i8h30qw30U+ZXZZPB4w12BBHi33mvfyPC2W65srZ1ub2YbEX511gulha+Zb+FGoVV9SgAPdp/CpyxOI8ciZBh1uRpVPEcYK4nKgR9BGR1qKwZS5ICk3Y2ddOV6KrgBurke8fdSZx/ojE0pfqhKys0mj5CGcksfMkEnzqCg09FHJF3jHGocPiIpsU/UXR1XMxIbVL2VbgWuNfKvm+EXh9v/lR/4vwpP4z0Kw+IaNXD4ewY3DFy1yosc97c9qEz/BbhwxCzS6G1yqkbE8vKnqgckP8AwHpLFiJp/iny5GVmbMygAgACzC26nUCrs3GwZ8rdWjIrIV61WbM5jKgqNVuEO+9Z9wn4PQplKfK2Krv1ZvYE6Abaj2UT4b8HYXFx9ojOwYgMSDkKtZtrjbv2oJM3JDbxWxjOgNxz1Hvpe4FxbIgUKoFz2F0G+6DYH6ugPKx0Lpxfo1IRZQD5Nb7aRsd0cmS4ysKnlxXtdjKVdjfwzEK1mQ5lP3Gxv5HQ93O1MeGOn8+NZXw7EyxPmBAfnmJCyW5Np2WtoJBqNiGG2h8A40k6m11dbB0bRkJ2DDuPJhdW5Ghiy2+MtP8AnQZR9XRS6fcQ6nByvlZrLsqk2IOYFreivZ1bler2DxvWxrIFZQ4DAMLEX11FRdLB+aT3/onPsW/3VOkdlAUWAAAGugGgroEKTj88Xxw7e6RP91X8/wB1L2M61cdETKgQpLoVscg6osuYnU3s19LBT30fQXI8QPvrBPU1t6qpdHz+aQeESD2KB91W0NwQCLi3jY8rig3RKGZcOBNKr7hQqZMoVmUi9zm1G+lEx90vx5iw+YLm+Vh0vY/pUbS+l9LC/MikLpZPmxk7ZWTNHC+VxZl7KaEXNiLVoPSSNWw0uYA5RnF+RXUGs9+EviXVcSNwLPCl9AdLuOflyNTy9Dw7Lkc3bi8Url5NT51SwnFYnyWIBXYXIJH6ramiLQITe7a6+j/GpKSKUwDPxJUUhJG7zZQtz33zMT7BXuHZXFy7E+Lfwq7iuFwRqcsbse92NvYgS3tNLZx2ViOyB5ffv769t4F3R898yXQ3wcOh6slpO0B5n7SBQDGM2Y5GGX6zX9y3qjFx8E5LljroBz5ab0NeafnaMd7sqe5jmPqFc+THR04m34GlRMSpSdu0NBIq2YeBJ9IeNqlTo+uGszA5W0Dk3U37ioAvSrK6Xu85Y90ak/4nK/YaO9Hem3UKYGiaXDOflI5GDEj6pygLrrty5b0kMey7ujR+jOHSJRJEA621yksw9WppnfpFEgAbRm2BIHupDkxhy9ZgH+RNs0QAV1J+ZlGrfzq1WcFho8UihgwXUlrqpjPIHMb28r11LBFK2Q+bK6Q4xcQCm5FjvYD7z+FccR6Y5LC6tfla/v0FCIsE5BUsSiiwksVv6zq3nUGE4Kj5mDBgOQP30jhG9lVJ1oN4fFx4n0gb21/hXX5BiZdAQO/+NQ8LnSK5IVeyNtTfnqeXqFVcV0qDEgX3HMX3GmvPXalad0jJ62X24R1Y7HdyGt/OoMfxlhoEY230NVYukThspve9rc791W4OIBz2gF5k3t7b6UGn6NrwHvxWYjUNl7l5+vlVjg+Id5SuXSwPMnc7++iUePgzWkZbcmsQP3hv9lVMbw+SbMI50Kj5sRuD5gan30v7AKnFWgWVWLXZb9lNTc2tdthax796hk4pGW1iUag2vck/yaoT4CVCQLADuHaHnmoVNhpEzHS+5Jt916KxoVzfg6wcQS7ErlzEHQg30HK3h31Y4bOHxkZUjKqte47QJy2ty/8AFJPCzKzWSzD5xHor45vDe1OvQoR9a2T5R9i52HeFH3mhKKitBjJyaseMQmlKnFF10NNmIGlKfFsRlJ76hAvkBGImSLWSzE7IdfWb7ChJxoLhkfJIuiuoHZG+Urs8Z5qfMWOtW8XDE7FnW5O5DH7K4XhKSWWJih7itx7R9tqjnwPIt/s12hsWRRLeM6TAw5cQsYLHI6iSy9WRZnVj6Q7l9LW24uVDgnTjhsxcSxywZbWzyTyZr3vYITa1hv31a4hwZgWXPG7KdVV1JuPqtY3oWmC6pSWiKA8ypF+7QikXOKqW2VuLeiPpZ05hwrxNw9UdisgdpEmNgclgOsI3sb2HIUG/96uId0P92f8AdV3iEEb5cwB3sR945V4OBQkXCKL/AFb0ryNeDcQSfhZxt2IWFS5uxWO2Y8ide166PdEel2FlWQ4+IdZmuvVwXBBuWuF55u/vqtwTo5DLiljdBlJIOlr9liOemoG1TYzBLh55Y1ijZQ9hcG9rAjtKQedUhclaQkvp7LvF+muAjkjEWBWRWPaZ4+rK6gaDKc2hJ5bUM6d4xMZMkqSRkqhQqMy3AkkKWzgXOQi4vveucY8JALRMtuatcexlJ99UuJwQ9gq7C4v2kH2qx+yjOE6NGcbAqxkC23hy9m1Sh27z/PrqycLcDLJG37Vj7GtXvxGTuHtX8alw+w/IcOMQRj05ifCJGa//APSZlHsQ0icTxCBzlU25B2zfYFX3VHLxiRn1YnXnrXHEptBprbewr6RyUou/DxoY3GatER45IBYEKNNEsg7tQtgfXVEKGJJaw9/sol0e4A2KZlUqCANWJ01HIDX2irE8WFgbKyyzyDe5ESf4SzH2ivPlbO7S6BdktZQzMe/8BRLDdH5dGlyQKdbzNkuPBfSPqFeP0gkGkQSBe6Jcp9bm7n21Ti1a51JOpOt/bRh2JJ0h16O4/D4WQPHJNNKOUYEMRHczPmZ18MorReG4iOdRJaOGQnUKBqe4yFSdfGsiwjqo9G9OHB2Z4rLZAea3v7TXpPCnG29nnrM1Kq0WuL4qaHEkSAjMey4JZfAFu7voxBwq0XWJZZCO2Va6H1t6VXOEY8yZcO4z2HpvZ28N9PdTT+QkWE5mbJubWzeNuQrjyZOLqR1Y4WrRng4VNJfZcoB1vlPr3BqSFCWDzSrHuq6G/cdPI6Wub+VHeK4781LQxRxqFaxN5HOUqo1IspsSb2NrDzpLxOJfsqLHMobMQLkbkEWtztpYeFJGXNjtKIYaGNW+SZmAFsx0bkTYb8+dqikmFrg37ybFTyFhbfxqDh2EMpyaKbHbY28LaUSgwllcsTZOybWNzpYAEWt4+6n6F7KEnEmCkING0zG178/5FDmnljPyburHmL3NtdR3fjRyyqRmQEG/okgj1m96ji4YM4FgSxyrckWJNgb2O3l7aZNIVplPBdMJlsuICSr9ZbE38RoO7QUV4lFhigaTrIA+hQspNjva9yB5n2VaxuCjwJRQolxDAlXcdiPvKr36fx5Ui8XjeWRi8hY8ydPHS3LwqMmpO0PFuCaew5xrDs8XVQELCAMojN7jvYGxa/spt+C7D2U6fz5VkOAndZFAdhqdibHuuNjW19DOLhcOHdb6gdka6kAc6nO+AcdOdjtJsaSuPvbNTte4pF6ZCxNc+Ls6cvQjYziBzVe4nxz4hhht8Ym0QfRHNj5X9pHca84DgFZmnfUR6geIBN/551nHHONNiZ2lbS/oj6K7qPx8Sa6JM5Y62Sz4pjcn131ueZqfBdIZY1ASV18Axy/unT3ULGI0N6iVwRppU3bGTSDUnSc3BeKKTvOXqyd+aW+yrUHH8G2/XQnwIkX32NKsj7V4jAMGIvblU3BPsqpvw0TgmHQYiJ0xCNZrhSrKzAgiw5X176o9KZcmMkP0greqwU+9aH8IxN8RCRfV095FHOkckQmHWQh7oO1mZWFi2lxy9VNGHHoLlyWxcxON7B22oRicQpVTtTTHwWCckRtLGTyYK6+0EGgnHOjUkEYLMjDwuD7LffTSToVfqBjJXPXCoSCa96pvD2/wqLRRH//Z"/>
          <p:cNvSpPr>
            <a:spLocks noChangeAspect="1" noChangeArrowheads="1"/>
          </p:cNvSpPr>
          <p:nvPr/>
        </p:nvSpPr>
        <p:spPr bwMode="auto">
          <a:xfrm>
            <a:off x="1797050" y="-865188"/>
            <a:ext cx="2533650" cy="1809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latinLnBrk="0"/>
            <a:endParaRPr lang="en-US" sz="2400">
              <a:solidFill>
                <a:srgbClr val="292929"/>
              </a:solidFill>
              <a:latin typeface="Segoe UI"/>
            </a:endParaRPr>
          </a:p>
        </p:txBody>
      </p:sp>
      <p:sp>
        <p:nvSpPr>
          <p:cNvPr id="8" name="AutoShape 8" descr="data:image/jpg;base64,/9j/4AAQSkZJRgABAQAAAQABAAD/2wCEAAkGBhQSERUUExQWFRUWGBoYGBgYGBkYGhkaHBwWFxcdHhgaHSYgGB0lGhgZHy8gJicpLCwsFx8xNTAqNSYrLCkBCQoKDgwOGg8PGiwkHyQsLCwpLCwpLC0sLCwsLCwsLCkpLCwsLCwpLCwsLCwsLCwsLCwsLCwsLCwsLCwsLCwsLP/AABEIAL4BCgMBIgACEQEDEQH/xAAcAAACAwEBAQEAAAAAAAAAAAAFBgMEBwIBAAj/xABNEAACAQIEAgYECQgIBQQDAAABAgMAEQQSITEFQQYTIlFhcTKBkaEHFCNCUmKxwdEVJDNygpLh8FNjc5OissLSQ6Oz0/EWFzRURGWD/8QAGgEAAwEBAQEAAAAAAAAAAAAAAQIDAAQFBv/EACkRAAICAgMAAAUDBQAAAAAAAAABAhEDIRIxQQQTImFxUYHwFEKRsdH/2gAMAwEAAhEDEQA/AMRsD4ef40XxHYw1uZVF/eJmb3CIUHhjzMBtcgUW4xjfQWwIIMhU62zkZR4WiWPasYDVNhYszgHQcz3Dcn2V6yKR2TY/RP3N+NvXVvhuHtcsN9LfVFi3tOVf2jWY0avYYSXq4nZkLLcEWBDC40GbeMKm4HMb60tu4Ddi9j37+I0386Icaxp6wKrH5O4uNLufTPt0/ZoTTN+E0rbk/QlhJL78vef4X9rVJPiVkNn5DRxv4XHzh7wLa8qHJNYWFcl61g47L85uAJe0NklXU2HL6wHcbMPDaqsODZ3CJZiTpbbz8BX2HZvRW5zaZd7nlp3+NPHAejxiAUDNM9gba/sjw+2pylRRKwn0L6NqZI4htfNI3Mhd/LkB51rQiAACiwGgA5UJ6NdHFwyXOsrDtHu52H486NUsV+pmyG1eZanyVwUpxTgCvq7tUbSW8axjosALnas06a9KpMU4wmBYm9+tZdAR3Z/mr3nn40X6XxST9jrxDEp+Wa/ZC8l8WJ5a+VLmDzSq0HDk6nDr+mxT6FhzOY7e38KpGNojOdOhaikhwpC4VRicUTbrLXSM/wBWh9M/XOgtsa5wcatNnmz43EsbiMEut/rP8+3h2Rbc7Vd4zwNYEzxmT4swytKIyGmb5wUnaO9rE2XwY6UL4bxFwwjhHVBtAF7RJ5ZiR8p5EZQdgKZKpGbuJoQUdWr8SnVY7djCQnRvA5TeTyWy/WO1GjxB3TJJInC8IqX6sFFxTx3+iNIFJ8L+HOljo98nN+aQnF4sgZ8RMbLE/MFjdRpyU30sSeTJwzgcUk5d0HFcbcZioC4WEgWVXkN1IX6IDH6vOjIESXhOIllRo+FQLhcJa74ue65rXu4JOeQ63zE201NtKk4F0cWKRxg4TiMQpIkx2LBEaEE5hGh1cg3HZAGmrUZlw6yyZMQTxCdLWwsIy4SE8s9zluO+Qs3cld8cKlkGLZ52JCDBYY2izm1hJIctx2k0kZRropvakKguCBDMWhDcSxYNjiJCBBCe5WHYS30Ywzd5qljIVeW0hbiWKU/oYwFw0J+tfsDzcknkBR7HQM9oZ2ygDs4DA75eQllGUhf7tPE1HNgiiiFrYdPm4PB6yEf1koAy355co+uaZE5CzjIi06DEymaVWUrhcKD1ceo1kbQmw5sQNNjS7h+HBZtQwtKfQuT6RFgRy+69NfGcQuHQx9nDJv1GHs0zeLyfNvzP+KqcOAujsoK9pyLHUdo217/xroSq/wAEb5V9mFcA3UJZeqwMZPK0k7/aL/vmi+AlC9uKMKeeJxRLP6lJuPIlB4Un8MNnZgApzEGSQ5mOp2uftv5U04GRbhrZmHzpNbeS8vdRcVQim2wxFh+t7RD4kjUNL8nCp7wlrHzCn9ap+GKTn6xhISb2i7KakgAkG7aKNydhQDiXTnCxD5WTrCPmjUewdmkfjHwuS3kaA2RzlA7JyZFXY+Oa/q0pODKKS8NdxvFUhTtOkKdy2Hv5+oUuN08wQNs9/GxrIoIuIcQbsK7Zj6Rvr+0d/wBkXot/7Q43nMgPMGQ3B53ub06hFd/8M5Sf8sUsR0SV9YJNT8x9DqbaNz9nroT0gwzpO4ZSouQtx81eytjseyBtTZwrHZWv3KxIKg8uzuPpldd6vrPnARgJAbDKwv4c6SWKMnrRDH8ROCXPZmYF6Y8PKYYy1gwQDLzBOoBHd2sxN7aKKK9K+GQZlSNArjKgKiwNhqTbQkD16amhnGuHzIkRS+RtgpOYltALfO7NhpffXeoODizujmU40vR06LcAwk+AVGWObUszLpIjNa923BFrcgQBpS9x/wCC6WO74YmZBrlNhIPVs/qsfCk/C4ySF8yM0brzBKkeH8Ka4vhRxHUNGyqzsMvWDskA6E2Gma17EWseVLoamuhMZbaGvKsTxpbMjHxVvSHkRow8dD4Ub6K8GDnrXF1U9kd5HPyH2+VI3Q6CPRbgRjyyOLyN6C81B8PpH+d62Pot0Y6heskF5mH7gPLz76q9Dei+S08w7ZHYU/NHefrfZ9jflpUr2wt+EJSvClqsdXXYiqgpTNem1Aem/HXw8doBeQEFjlzrGuoBkUEHXkNL235HFsbJjsVKRiMQxRQHZnktEFJ0IUWGtiAAL30tW4urF5K6NY4z8IeGgnSAFpXZgG6sZsl++3pH6o1t7Kk4zx5I1u7MitoqqLzzHYBFH6NSdLnXyrIhikiQjC/JR7PinHysnesaj0R4LrtmK0Q6OcQEJBGTDqbHr5rvMQDcFEG2uo2H62t2jFCybSHTiPAmmMZxYKRX/NsFCp6yQmxOc7A23JNhzNqJ4iJI+rjxKCSTeHh+HF0XuZvp25u/ZFtjvU/CsUqQmVCYIW7UuLxJ+XmOoHVofR30LWUckN6qycPkALITg8NLYGaRS2MxDWJORD8o+bSwI01sttaf7CVZQ43KHITGEyu36PA4a5C20Gdh6RHfootzFJeP4HLAxiZFRsoJQMGJB1s7KdT9QWF+RrSMPw9cOMqq2EEnzR8rxDE+JIv1Q9tvq1Bj+DqQIurWFtWjw8a9diXYiwaV79kd5Jt9bS1UjT7JytdC30XcTRdXIJpBHvh4nWNZbkBSwuosNiAQO++1P8JNlglbKAOzw/ADUDl1swy5F79Y18WpOl4K+HkEyrYqbOvjsQfA7edPXBYQY1SHMsLDMIsNH1Jb6RmxJOhvcHKVY2+dQyRobGyyiEAQEiBQNMFgtZLH+lnFurB8Mg+u1ccX4Wow4jMKqiywuuHw75HDdYgzvPoAwvm5ElbZjejWBw6qmSMKqjUpB2UvzzzaFj3kWPfeg3SvEsYXijyhApzKg0ZiMyqGO59Ek6Dtr41EsghhoBGvVqBEL6w4ftSE/wBZMdieZ0P1jQ3iEhUFE+THOODVz+vMdj7D4mlfhvSHGxwrGYZTYa9uDtHmSc4Jvuaml6RTsuVsNKB3K2HX7JRTQkk9iyg2tAHpG2RSDliHNU7TnxZu/wAaO9GQHwTMPok+vq1b7SaC8Twkbo7yYWfIgzHLJHm0DFiMsttANeeotRDgePMEHVx4WcRkABSY3axXfMZNrG2/KqTyqT0TxYXC2zPMd0yaKaUAC4kcD9420GvvFUjx/GYs5Ezvc+io09g0Hrp0k6KYRpDI+BxjMTc3KEE+Qko6nGfi8eTDYSeEC/oRKpJO/aDFh+zapwfFFpwUn0JWF+DDEsV+NOIQwvZiWblayKCSTfSwOxpuwfQfA4IB8QRf5pxb9UD3ZMMl5ZdzoctMnA+jryQJNLizhYpALpCqxTMdm6zENeQtcHRctFuCwYCHt4LD9dIwv1oBdz4tPJdveabm/AcV6C4Jp5xlw2FmkQ/Ol/McN59Wvy8o8Gvepx0Ox3/6tfAYJiB4Al7nzpkw3EpWmVZXiiNi3VBg0hA3J8PGwq+eNRfSpbkFJH5iGJQRsWFiWVNLD6TnvB1VavcIky/Khgch0Vri55bE21I1F/KuMD0KxGIBjV0RlVXCyAjPmGW4I30jve3zqo8a6PY3DIFeF0A+ctmjI3HaXQc97VSOTVs5J/D26R6+IE0+ZjlCaFtx3sbi3fvpRjAQ9diC4IaOHRe4udT5gDl4+JpR4XxYwoxCtmIsD9b8L/ZTX0cwyGJerY5h6TocpLHU5la4bf5wPqoKVjuHFBHifBocRpLGM22bZvUw+w9kd1KfFPg8kXtQMJF+iSA3qPot5nL5Uz8Z4lLh4iSqy8l0KsCdrrqCO8gjwFRDiEiwhyvbK3yqdL+Z/jUpyQ+KMvDOYuFSGURFGV76hgQR4kHYW1rc+gPRJciSuOwnZjXvI3Y+v33pa6NcDedhpeWTV25IvcPqj3mtgwuGWNFRRZVAA8hUV9TOrpHuSpEFdqtVuMcXiwkLTTNlRfWSeSqPnMe77qoKWndUUs5CqouSTYADcknQCkXHfCIuIYphnEcIIV8S2UGx0PVK+/6x8wG2rPum3TOfinZiNsONeoXR7jnIv/Et9W6juBoR0eQqc73sPRfQhGGotHvIdtARbe4q2PHb2QyzaWjZeG4xYYsrDqcNs2YZp8Q537Ju2u1zdzyAFjS/xb4PklvJCmW9rYVzq43DWGwAt2QdxuNqLYHBzwKkkgJQi/XuGeSzADLHHlvHew0Itto1FIcUQypGWUuNUBJxEh1v1jaiIXA57E6ptVGnEipJmN8d4G8UhKqXe+XtgDqu4LGQBYa6kAD6ItmoFHhcrdY5LPe4BJNzfe+7er94VvWO4CMXZp8gKgX6u3VRrcEiSY/pWO2Ud+t9DSn0o+DRms8O9uyNQjC5PZB9DU3tsb+N6RJMo5SoEdC+lq9cGkKBx6M04aYpytBh10zdx38TsdVw82QhiZEaQenL8rjJtCB1cC9mBRmPKwvqg1NYDLw50c+lHKp15Nfz5ef/AJp96BdNFUGGU9WTbMQwiz/2uJYmV/BUA9lGcGDHlXQ9T8LZSRGHjL2zdX8rjJdFJ62duxABmHM/VI2qDA4UAMqgIt7ukLEC/Pr8Y3aY94XXzo0ljFlQKFYaDJkTWxuIv0kp03awProVxjDkEEm9vRzAWXbRYh2VI7zrQgr0bI62ibD4aI2WyZCMvYUJEBroGY5pGJPpAeyhHE2/J75JLGJmBUsLrfYEi4v9FhfexqljulcMJJd7t4nM34J7vOuY+luF4xg58JLIsM0YzQuxvm5C3NjfssouSCCLnajXHsnF81odMLx+Jo1kdwFsLdYV08BEhygjbUk1QxC9YuMuSSBLv3ZEK6ctD7qQ+hnQbGjErLi+xFEQQhPacj0dN8t9dbXy+NaabBHB5owPrRR91Rkl4dGO62LOGF1U+A+yk74R8OzGAqCdJAbA/wBWRsKdMEziNBYegtwbgg2Fxa3fVhZn7h7f4VFaZZoTOgUJ+JSIwIJeQWIOzInf66JSOfiCsCVPUQsSpIPzCbEajS4phuzEXtbbfy8KVcXA78JyoVB+LWOYE6IpzDTnpoeRrBQWbgQB/S4j++f7zQXjEow0sK9ZiWLtlKkvIpVkkUa2tcPlO97C9MXDMM6wRq5BYIoJAsNAOVV+NrZYifmzxH2sE/1VqMAOj3GXMeGijwBxkxRC0kmZ0QZypsALD0bkkjXXWm7EcI4pOv5xiFw0Zzjq49DYkBBaM9oW+uD9gv8AwXyNHgTGQQVnmUXBGmYlT5Eaij2KUsrk6kN7gRaqxEasDcF4FHhbxxr825Y+kx1uSeev20PeMgnfemiYBZb960BmiOZvM/bVExaMPg6cPHO0clnw4YqMy5njXbMh3GozWvamDG/CM2HWIYaYYga5y6ta2lhdgDcCswSZibd+w3HlaiE0dktk0PZUg22sWOvIk/bUE/EUpdseIul/C8acuMwvUSH/AIsR08yy2PuavOK4+PhyBsLio8TGXy9UwUuOZ+UjIOmnpDmKzsYVSNHF+5tPY2xrh8E4Ga117x2h7RtR5MVxTNIwvTbC4tepkDQM9gT6S7i/aUXsR9WtAx3RGCaFBh3GgAUrZlPsOnt0rLPg/wCibTr1iLnc5rcgijQ6nmTpWzdGuADCprrI3pHu+qPAd/Opt8uxopR6LXAeDLhY8g1Y+k3efwHIUVU1yhrnEYyKLL1kiR5zlXOwW53sLnU0yM2WVsN6RfhO6OJjYld8UcOsNyubWMk7kgWa9tAQTpy1NHulvGRDF1aXkxEg+SiT0zqO1sQqDcs2mlqWcH0dkZ1m4iwxDixWFTaKM8rg9mQ+ZGvI08UTk/EZnHwCZE62WHPCAGSYXQE3y3LmxCaE2YAnS1i16O8E40olSSy4gxtrJaxTW9urIswuDqRfXTLudKxPS2NSUQCSS2qnsog2sQdWO+gvtyoJF8G3xomT/wCMScwdBk137MY0Hnp5mh/WwhkUO39vPyM/gsk8fPpff38Gi8C6TQ4pLqRfmD+HKo+MdHs93iNm3y3Ko5FrZslma1tr2rKpMLicFMy3XE5RmLQG8irewLLv3XLADXemXgXwgidcqy3NuWjjzU7+Y9tdLxV9UGc0cnJcZrZf4fxESNkcZZI9BdVJTtakQC8cFh85zm02NX+GqqyS3tdyhZuszl+yoGaQi/K2RBbTek7ifBHjUywG9rtbdL9+Q3Ct9a1TcNV8QpkM8qscoYWiIBCITYtGWtrzN6lOltD4+TdMa+kHQrD41e0MkoHZcCxHmO7wNYj056Hz4Jh1gtr2ZF2PkeXlTfxjjJw86wmXEEvlIIENu0cv9FRcYeTrJA2IlKqikC0RtfrL7x6+gN6EczS4+BlhTfL0zjon8KkuDBjkXrE7gcuveSBmb1k0Sm6Q8Q4oGEMTImmVh8nGuvbzOSBse/1U6wwTEBgZ7EAjXCDcXHzK5R7uUdsY2hBSIx57jqTo0SqVBEgu2YWAOorKewvEq0J+E+DeGIr8exJeQ6iGK9yBqbDKZH05pGR40/dHej8kYBweETCp/S4jsMR39WpMr+TSRDvWrvB0hiB+LRRRFgCSbPNm1zZghZm0tqWve9EcMrSy3ZWZQLsztZQeQWMaHX6WosaLlaBxpnrxOtw8nWNckuEVAT4KvIDTUk6b10sV/Kp5F19v31aiiBIHj/v/AApCoocKQmGP9VfsFWurqpwqE9Ump2t7LirfxU+NTHOWS1vOgmHwx+JshBHYnWx7s0gX2i3to5JAdNTvVHAKXVgxJtLOnqDvlHqWwomJOHnNFGe9EPtUGq3SOO2HLH5rxN7JYz91WeA64WD+yj/ygVD0pwSSYWXOoYojMtxsQL3HsrGCXwcT5/jYLFsmLNje/ZYXWx7rWtTRjH7Mo8QaS+gxEWIx0aAKvWRMoGgA6pbWHdpTNNMTcnnv76eKFZxO9yD4fdXJhBqCSbRf55V51pqgp+XuFwM0m1yov432G/ifdXHEZlLWBNl0G1jbc6HvvWmS/B1xHD4WTMnWuTZQwaSy7Hky2tfQkC58r55xHCNG4SeARMdytxp32BYeoAVHjRRuwaYDrazW1Nqk4fg3lkCRi7H1WHMk8hV/hIgXGJ1knyIk1cqSLfSy2v6rVt/COikEjjEIyvDIt1ZVKlxfncA2pWYt/Bxw3qMEqZTfMxLkavc3v5XJA8qZcRjI4lzSyJGve7BR7WIqtxLE9Th5JBlHVxswzXCDKpIvbYacq/M/FOJzY2ZpZWLu3M+io7hyVR3VkA2LpV8LGRur4cIpyp7bk3XTXKiggt+uDbuvvWY8W4jPjZ+uxZcufQQdkIvcAdI0HffxN96u8B6BzzxGWCMyFTY5SufYG6xscwH18p8Ad6sYhsXh1yzI6LYgwyxl1IHP5TtA8+QHKw2dIVs74Fx5oQXjlOc9ljlJQRqLgasGbc6tYDuo0nwipKQsrFVtoUuBzU52FmJy7iwGtKv5YwsoCzYQoBoHgkKkeJR7qx9Yr38h4WW3UY1AT8zEK0Lf3gzR+u4p5RUk1Imm4tSibLwvivDliV1JxMmiqoTM1zf0VGijQ9okW76JjgeNxIJllOGhOohR88pHc0/zARyXN58qwPE9HsZhu2EkAGueI9YvnnjJHrNWOj3wl8SgYRwSM9zohXP59nc0kcUMSqCHllyZnc3Z+kOF4WHCJlSIQruWGoJ72f0ifFqV+mPR/hmKe2VvjW4bCfpb8i2Xsnzb2ig3BOl0+Jt+UVZFIFo8O2UsdjmRLuR4CS/1a0bhvC4BGpgTqVIuAq5D+0pFifMGm62xdvSMyfgXFsKg7HxuEi1w6x4mPkC1syv36ZzRHo/nEbZl1L30BUHsR6gMAbXvyG2wpwx/E5IiQyxqNg7sFJ8owSWPkR5Us4GXNJiCzE3nbWxF+zHyOo8jSydoaPZ5iODxSuHeFWYWsSdRbUc++o5g2ebKBfqksCbD/wDItcgGioK959hqlYdZIb3uiC2txYzWPkbkfsmkoc74KG+LQ57Z+rTNba+UUNj6NxYjFtE5eONs+cxt1ZJK4VgpYbBiG89aL8LN4Yv7NP8AKKF4fiqw41nnURxgut3ZbNmjhHIm17DfvrJGY68O6JYXCxdXBCqKdTa5JPeSblj4mr0OGypb+fClLBcawXFHGFilnPUnrGCsyqVVhdH17Sn0bHW21OmJewp99CqnsHvDdlHeD91WOoCkef25r/bVET2cHuP4VZknvbzFYIucPj7OuvacekBs7Ab+AtU8kmlhoPMH7qh4thkGBlkYspR37SAFwOvu2UEgXIJHrr3gOFgkifKzOA11eT07FUOUnnYn325UAkDxkfOJ15+Xuqhw9spmNicuIkNhuboj6eJze+izwKOQ3H2ih+BUdbiARtOh/eghFYxS6GY1pcKuaJo8haPtW1ysV2B0Olj43teinE4c0Eo743HtU1Hwdo0jZbop6yW4uAb9Y419QHsFWMY4ZCqSohPM5W89Caxgb0e4gxxUqFrqIMO6DTTMDm8TcjnTBJJr6qSui6smJTO+cvgYjewG0klhYfRVgt+dr01yS1SIrInfsjzqYT1SMmnrr7rKcBgeC6e42C3U4qVAosFDsV/da4qt0l6Y4rHsjYqTrDGCF7KrYGxPogX2G9WJ+BkaNhJAf6uUW9jKx99VH4VGPSGIjPjEHH7wZfsqLb9GVeAkmiXDek2Kw9upxEsYHJXYD929vdXP5NjvpPH5MJEP+Qj311HwNibgo6/UljJPqJuPZSDHv5RnlLh5pSrnNIC5sTvdgTbfmanjnyABSFU65iCC2nzdAT+tpuNqJPwiCxv8chHLPAHQebIwv52pdxy/KMFcSAGwa1rj9U6jyogLSYxl1QOu92Vrk763t3Hvo5gvhDxqIY1xshQi2WYdYPVnD291KdiPmke0UT4RgHxBIDHsi5Bs+nm1lX9phRTBRZXiL7mOKa2pIADe2Ig+0V58VjmXN1ckI+mzKY/a2Uk+AJNGMH0dhjZDI6DMwHyWXEycj2QvydwCDZVY+NamOg0RVZMO0OY65sSsgmUW1tdiF1+aqp5im2DRnfQPoQJp0yTZzckZG6obXNwwzsLbgAc60HHdGo8IrkxShdc10OVydrdXnllOoF2sRvc0J4D0ZUrLJiXd8uJkS6GRcxUkahGLZb3NrnU63p7h4y4jCJcIAR2zlsBtqbNR6QrdsSIMBjcQD1MZgVgP0hGHBtztGWna/czjenropgp8MPl8U8ulhHkVI156HtMT4lvOhMvSGIWBxCM2vYiHWliNxm325aHSvuH9IcRthsFI5bTNiGKAHbUG7AeWl+6pyu9Dx62MHE+keChcyNKiy3CEpZ3vYkKct7DfewoJwvELMZpEBAeVm7Wh1VDe3LlprUEXwdYyV3bFYtGV9ciRKMuoNgx1A3Fh399VsfwaaHDTxYYP1iy2jIKqcoEYJu+hFgeevfRdUZJp7D5iPK3toabCeUn+ijOgvs2I7tTV6CIZFDatlAba+awzbeNV40HXubadXH/nnoBOeATh8NCwvYxpa4IPogbGok4VBicYIsRGJEY3sTYXEatqBv6I9ldcLxJWGNRBL2UUHKq2uB2rHNrreqsHCJZcYhBnjDyAks2UqqoxcLkN1BAyb/O50EE0HhnBIMMCIIY4gd8ihb+dt66xW1Wm2odjGooDKNhm9Y+6pwdPLX/Kaqs4UF3IVF1LE2AA8TUSyyTkZbxRd5Hykg8FPoKfpMLnkBvTAA03Sd8M8qg4MIGBDTYhoj2xnH/CK3Op0Y3tyrqfF44m5hw399L/ANip+JdH4pmKzqkqdkrG6KVVlDBmXndr+q1e/kSG1urFu67ctudAJQefF2u0MFhb0ZZGNri9lMIubbC4qrHFileRzFFaRoiQsjswyAKbKYhc2A5+2ix4FDyQe1v91eDgcP0B7W/3VjAaPhc5d3kw+EfNYgMbkHndvi9zf7q+xGCMal3wnDlUbsz5QOWpOHsKNDgUP0Pe/wDurmbo9h3HaiVgdw2Yg89ibVqCAuH44vMhCYYII3UNC5kNlKkANkVVTW+UX17rGjLSVx+RYcPGxiVIkQMxCgKp7J3vta176bUGHSIN+iR5fFFOX+8bKn+KmToFBbka8zDvFBWkxMh/4UQO1yZW/dSyj941yeFy/wD2H9UUVveK3I3EW2lW4/NoyLciEP8AhFT9UHGVF6gm3bZ3cDv7Ivc/jWk4HofGgICK2b6QBtbzGm9dN0Kim7PV9VzzKttuV7Wtr7q8+LzId8WI0XRCBwB8YiNuTFBc2+i0Yt7a4xfwfQNa4gIH0bf6JD9gp6PwXpynceoGoZPgzblPfwK/xqnzMy7QOMTN5uh2DRrR9lzqDHOyADvJcBffV0fB/nGmJnb9Z4MQvsc02Yz4PHsQSp9VK3A/gxkjxbKzF1RQ4IOTVi9hfXQW5WNKviJdSjQyhfTIYugTIbB4JMx9F8GUzAC/pQgg2N9bmpeiXAZoZpmiX4uyOiHq5nUSBhmW3W3BF+Wlaf0T6OLA0hyrc5RcFmNu0fTcljvzrs8OSbE4hHAZbRix8EBGu9+1vvXTCVqybRk/TLjzxymPFpJGyWYP1MMmYHZiyqlxpb0jqKA/+q4QPksS4NtpOuiX2RZh7RWzzM5do7MsYLLcydYDZrWKuDobbHu8q7l6G4Oa/WQwyED0mw8eu9rMgU6DTltWWwCLwrioh4bC0kzQ9ZiZ8zRiIknU6dcyaa8hfbSq7YvhjkdfPjZ9O0ZY5HivuOygIB5U6cH6KK2G+LzRCxnmYKy3GRnJUj0gLp3699FH+DPANvAm2nZQWAtaxC3FUYEjP8T8NeCw46rDYIyZbAGyQKQNiAAWtYcwKrcR+FriYaNUwsOH64KUzBmJD2tqzAcx837KfH+B/AHZZVHcJWtzGx050YxfQyB5FlYyGRLZGLk2sVb7VF/XShdmS8B6R8T4meqadozoSS/VXGpYqERWNgNrkaimeHo7MMmUx5Rl60yGTNIAkYujo53IbtMCb8rAEm+F9DUw8olg1N5Q2cm9iHWwIGvata/LnU4kCgBiFOUCx0Om+lZPWzegibgJ5QweuSb/AG1wOjrHeODuuJJb2uTY9nXc+2jolU7MDpyINSXrDAiPo8AusOH0Gnak237u81xwHgjxYyN3EOjNlMSZcgIIAJZiWve1xa+txReTFILgsoPcSBXvDsQrTLlZWsRexBt7KxhqkOlB8fiQhtYu5Fwg3t3sToi+J8hc6VcxGIZtI9F5uf8ASDufE6frbUKkULcDnqSTck95J1J8T5DSigMqLhy7h5SHYG6qP0cfdlU+k31217gtFk/n30ORtavx/wA++iAr4lO0fX9lcMmlUukBYtEqu0eaUKSuW9jHIbdoEbgcq4/JL/8A2p/+T/2qAS6E19tRAVR4HjAXmj60ylHFict8hVfoAD9IJF23U91EFH2/fWMfL/PvrwDT2UP6Q4nq4b9YYrvGucEAgGRQ1swI9HNy5VxFwgsAy4vEMCLghoSD5HqqJghiUujjvQ/Y1LkWvjcc9ftonBA8eIVDNJIrxSGz5DYq0QFsqLydqDwttSsZE2fSus1QE71IDRRgrgjbigAuAInJAJttGBcXt307xy1n3CsYPyhKzFFAjsDnB3a3O30aak4tH/SJ++v41DkkZRYWxkto2INiAao8NnZs92c9twNrWBAGtrA+FUuKceiELnrY75bi7r3jxpc6CceiTBxxtIgcAMwZrN2rWOo1/hTck1ZqY8S/rH/D+FCoP0836sf+r8aQ+JdN8U+PljwbxvGijQ2KC2XMbll7VzarHDek+KbEPGwiEhXMbLmBAAsLLIT869h3UuSDSU30aE024r3RpGHltm05X9n/AJobgpgmMxJchVLIAToCerhsLnc60uTdMmySKCvWLdWIUkAWBbTw5nYd2hqvxnEGSKFpNWkxWHOoA1yw622HfXNP4tQcFH+51/so8TW2HMdKVLNv2jz+saI8PlvEpsNV7/Og3E3ORjv2u/U9qp+H8SXq4lzBXdLqjHKxygF7KRc5bi/nXonOMMMhzgac+dWHbKCzPYAXJNgB66H4S5kF7c9jVnGYQTI0ciKyOpVlLGxB3GgoDItgeNe5T3/ZVYYwC4uoKkA3awBNrC5G/hU2Zu5f3j+FKEgRAG0+kT7SSffelLGNC+PljbI7hFOUqGKjPJrqNL3H82psDdr10vyr+eSn6if55qCMDxhCuKXKsSoYn0VLMTmi3YG1vV30SIqKVfl0/s5P80NfYPiMcpbq3D5GKtbkw3B8daYxTweCvJOXWNh1mnY7XoJuTe+lvYe/T3DNEuNSMZQ5RTky2uvWb7WPPSreBW7zf2g/6UNcydnFIQL9i/naWP8AGsAasSdKB4ga0QxE3ZFB5JNaKAz2Ia0Si5ULhOtEoTpRALPTnETIYDDGX+XjuQwBGuW1jqbhm15WuaOA1U6RH9Ge6aD3uF++rVAYG8PQCfE2AHajOgA3iT7waIAb/wA86o4XTE4j9WE+6Qf6autMo3IrGB3SFQcO9wDbKdddnQ/ZeiOW2g0Aqh0gH5rN/ZufYL/dRA0TC9xWaZeIYQxoXVllVruFUfoyTsdQtzb52Ud1DwbNbuJFMPENJsKf61h7YZvwpana0rjukYe80khokrHevr1HfVq8D0AmeRcJDOTGshVSpGgvrpbw7JOvfyq3DwKYvIVkYIASB1YZzYEgFQ411Gg/EU+8IwSZ37CgA8hRzC4RASbDU/cKg4Rb6LxzyiqRj8fCHw6yMVnmYoVA+L9lS2XXMXIa1iPR9lE8LBMFUCKQ6R62b6OuhAOla3iFtEbC+lRQQLYGzA0zxqn9yXzXezEoOjWLeRmML3Z3a7C41ZrUzdH+B4+CVXRCrfSGTQHIG7JIBOUMP5vTnjeLRxk6ki51GY68xoLA+FU8D0pVnIAOnO58ORronbhT6OePBZOS7AsnRXiIkHUsnVyAGVZMpGfTOBZScu9henfB9HGlhQYjKsqzCRChZlVlZSulxmFlAsatcPgZ489vaTVqIuGXs6BvPauLJgxuUJV07X+GdHOTTTYt4/iIt1edc9lcrzylgM3dvyorgEPVobLcKNTYHUC9tNPVWfycfmJYHCqGBCqxcKxUa2PZ0F+V6sf+sceFCLgRlWy5jKTcCwuLJ667btkTQuF4ljiACVPZY6X8KMDHjXsvp9U6+VZ58H3H8RLjCs8ccYEZIyFib3W4N/VTpwPCSRCQSTGUvIzqe0cqG1l1J2ty01oBLOLw8UsZWSPOrMrFSDqylWBIGuhUH1CphxEFsuV/PKbVF8dUNqwBPeQO78PdXQxy/THdvWMcdZ2h50Jt+dzfqJ/nmqzNjAGHM39nnVOCdji5AUYDqkOcgZCc0hIBvv2v53qUJKUmkM1SIsQh+MIcx/RyaaW3i8L8/cK7wuBEZYgk5jfXx+7SusSPl0/s5Pthqcmqgsq8OW0k51/SDn/VxH7/AGW7q5xjZZ1a9rRt7pIakwR7cv66/wDTiFU+KljMF6tihgku+mUEtH2SCb6geO/nWfWgBZ8RdLnxv7TQxMSGsykFTqCNQQdQQe6g/SXijQ4Cca36tlQ8wW7A8x2t9xzvvVXocGXAYYMLEJbv5m3utUoZLGcaGzDmiUG1BuHy3ozBVyYL6Tegp7pID/z46tVV6VaQk9xiPsljNW23oBAmCxLnGSgxst403IOitMFOn0rnTcW1oRxvgQkxkcxjz5VsNTowsQbbaW50fU2xreOHT3SS/wC6iR3/AJ7qyQ8ZOLtA3jpb4rNlXMTG4ttupHP2+qpeE4p5IlZ4zESPRLK2lhY3XTXuqfEJmRh3gj2qRUPCHzYeE98UZ/wLRFIOLmzYc92IT3pKv+qlLiU1sRMO6U+/Wm3jg7MR7p4D/wAxV++s/wCkExXG4of1kbe1E/GkyDwDGftnyqLrajWX5QeK/dVdpNaSwjJ0XlDGa6jRwB7PFR99NWFXuC+z+FZ7wbESASmzrd/nnuAFxdRpTRwjiyql5HN79/LTxqk1UmcsJ2th/icJaFlvlJFr+o99VcOAI1BNyFG/lQji/TKJU0NzfvHdQJumrPHaJVzDZTcXH1SDa/gazvjQeSsv4jhUKSPJrdjfc28tOVVOAOhD2tpKw0AG23L1UkcZ6ZTAN2VUjkxC+7Q1U6PdI5LODIt7l9FvvvuNam1J7GTSTP0LwEgwg3vcn7a6wTEGW4t2jbx1bWkDoN0neQKtz7LU5xuQJAOZJ18bny51XhfZuQj43DqDmubnKLbjS+1+f4UwYXDRlBo17Dw5DvqtiMKhWxvf6h1J15be8Vcw+AkGWwJAFrWC3211JPqrpkk1s542noiThKu5UAAFCDyJB0IuPOq2B4CgQCNTkTsABn0tbTcGu8TxIxMbix7ufv2oeOk5DG2i8h30qw30U+ZXZZPB4w12BBHi33mvfyPC2W65srZ1ub2YbEX511gulha+Zb+FGoVV9SgAPdp/CpyxOI8ciZBh1uRpVPEcYK4nKgR9BGR1qKwZS5ICk3Y2ddOV6KrgBurke8fdSZx/ojE0pfqhKys0mj5CGcksfMkEnzqCg09FHJF3jHGocPiIpsU/UXR1XMxIbVL2VbgWuNfKvm+EXh9v/lR/4vwpP4z0Kw+IaNXD4ewY3DFy1yosc97c9qEz/BbhwxCzS6G1yqkbE8vKnqgckP8AwHpLFiJp/iny5GVmbMygAgACzC26nUCrs3GwZ8rdWjIrIV61WbM5jKgqNVuEO+9Z9wn4PQplKfK2Krv1ZvYE6Abaj2UT4b8HYXFx9ojOwYgMSDkKtZtrjbv2oJM3JDbxWxjOgNxz1Hvpe4FxbIgUKoFz2F0G+6DYH6ugPKx0Lpxfo1IRZQD5Nb7aRsd0cmS4ysKnlxXtdjKVdjfwzEK1mQ5lP3Gxv5HQ93O1MeGOn8+NZXw7EyxPmBAfnmJCyW5Np2WtoJBqNiGG2h8A40k6m11dbB0bRkJ2DDuPJhdW5Ghiy2+MtP8AnQZR9XRS6fcQ6nByvlZrLsqk2IOYFreivZ1bler2DxvWxrIFZQ4DAMLEX11FRdLB+aT3/onPsW/3VOkdlAUWAAAGugGgroEKTj88Xxw7e6RP91X8/wB1L2M61cdETKgQpLoVscg6osuYnU3s19LBT30fQXI8QPvrBPU1t6qpdHz+aQeESD2KB91W0NwQCLi3jY8rig3RKGZcOBNKr7hQqZMoVmUi9zm1G+lEx90vx5iw+YLm+Vh0vY/pUbS+l9LC/MikLpZPmxk7ZWTNHC+VxZl7KaEXNiLVoPSSNWw0uYA5RnF+RXUGs9+EviXVcSNwLPCl9AdLuOflyNTy9Dw7Lkc3bi8Url5NT51SwnFYnyWIBXYXIJH6ramiLQITe7a6+j/GpKSKUwDPxJUUhJG7zZQtz33zMT7BXuHZXFy7E+Lfwq7iuFwRqcsbse92NvYgS3tNLZx2ViOyB5ffv769t4F3R898yXQ3wcOh6slpO0B5n7SBQDGM2Y5GGX6zX9y3qjFx8E5LljroBz5ab0NeafnaMd7sqe5jmPqFc+THR04m34GlRMSpSdu0NBIq2YeBJ9IeNqlTo+uGszA5W0Dk3U37ioAvSrK6Xu85Y90ak/4nK/YaO9Hem3UKYGiaXDOflI5GDEj6pygLrrty5b0kMey7ujR+jOHSJRJEA621yksw9WppnfpFEgAbRm2BIHupDkxhy9ZgH+RNs0QAV1J+ZlGrfzq1WcFho8UihgwXUlrqpjPIHMb28r11LBFK2Q+bK6Q4xcQCm5FjvYD7z+FccR6Y5LC6tfla/v0FCIsE5BUsSiiwksVv6zq3nUGE4Kj5mDBgOQP30jhG9lVJ1oN4fFx4n0gb21/hXX5BiZdAQO/+NQ8LnSK5IVeyNtTfnqeXqFVcV0qDEgX3HMX3GmvPXalad0jJ62X24R1Y7HdyGt/OoMfxlhoEY230NVYukThspve9rc791W4OIBz2gF5k3t7b6UGn6NrwHvxWYjUNl7l5+vlVjg+Id5SuXSwPMnc7++iUePgzWkZbcmsQP3hv9lVMbw+SbMI50Kj5sRuD5gan30v7AKnFWgWVWLXZb9lNTc2tdthax796hk4pGW1iUag2vck/yaoT4CVCQLADuHaHnmoVNhpEzHS+5Jt916KxoVzfg6wcQS7ErlzEHQg30HK3h31Y4bOHxkZUjKqte47QJy2ty/8AFJPCzKzWSzD5xHor45vDe1OvQoR9a2T5R9i52HeFH3mhKKitBjJyaseMQmlKnFF10NNmIGlKfFsRlJ76hAvkBGImSLWSzE7IdfWb7ChJxoLhkfJIuiuoHZG+Urs8Z5qfMWOtW8XDE7FnW5O5DH7K4XhKSWWJih7itx7R9tqjnwPIt/s12hsWRRLeM6TAw5cQsYLHI6iSy9WRZnVj6Q7l9LW24uVDgnTjhsxcSxywZbWzyTyZr3vYITa1hv31a4hwZgWXPG7KdVV1JuPqtY3oWmC6pSWiKA8ypF+7QikXOKqW2VuLeiPpZ05hwrxNw9UdisgdpEmNgclgOsI3sb2HIUG/96uId0P92f8AdV3iEEb5cwB3sR945V4OBQkXCKL/AFb0ryNeDcQSfhZxt2IWFS5uxWO2Y8ide166PdEel2FlWQ4+IdZmuvVwXBBuWuF55u/vqtwTo5DLiljdBlJIOlr9liOemoG1TYzBLh55Y1ijZQ9hcG9rAjtKQedUhclaQkvp7LvF+muAjkjEWBWRWPaZ4+rK6gaDKc2hJ5bUM6d4xMZMkqSRkqhQqMy3AkkKWzgXOQi4vveucY8JALRMtuatcexlJ99UuJwQ9gq7C4v2kH2qx+yjOE6NGcbAqxkC23hy9m1Sh27z/PrqycLcDLJG37Vj7GtXvxGTuHtX8alw+w/IcOMQRj05ifCJGa//APSZlHsQ0icTxCBzlU25B2zfYFX3VHLxiRn1YnXnrXHEptBprbewr6RyUou/DxoY3GatER45IBYEKNNEsg7tQtgfXVEKGJJaw9/sol0e4A2KZlUqCANWJ01HIDX2irE8WFgbKyyzyDe5ESf4SzH2ivPlbO7S6BdktZQzMe/8BRLDdH5dGlyQKdbzNkuPBfSPqFeP0gkGkQSBe6Jcp9bm7n21Ti1a51JOpOt/bRh2JJ0h16O4/D4WQPHJNNKOUYEMRHczPmZ18MorReG4iOdRJaOGQnUKBqe4yFSdfGsiwjqo9G9OHB2Z4rLZAea3v7TXpPCnG29nnrM1Kq0WuL4qaHEkSAjMey4JZfAFu7voxBwq0XWJZZCO2Va6H1t6VXOEY8yZcO4z2HpvZ28N9PdTT+QkWE5mbJubWzeNuQrjyZOLqR1Y4WrRng4VNJfZcoB1vlPr3BqSFCWDzSrHuq6G/cdPI6Wub+VHeK4781LQxRxqFaxN5HOUqo1IspsSb2NrDzpLxOJfsqLHMobMQLkbkEWtztpYeFJGXNjtKIYaGNW+SZmAFsx0bkTYb8+dqikmFrg37ybFTyFhbfxqDh2EMpyaKbHbY28LaUSgwllcsTZOybWNzpYAEWt4+6n6F7KEnEmCkING0zG178/5FDmnljPyburHmL3NtdR3fjRyyqRmQEG/okgj1m96ji4YM4FgSxyrckWJNgb2O3l7aZNIVplPBdMJlsuICSr9ZbE38RoO7QUV4lFhigaTrIA+hQspNjva9yB5n2VaxuCjwJRQolxDAlXcdiPvKr36fx5Ui8XjeWRi8hY8ydPHS3LwqMmpO0PFuCaew5xrDs8XVQELCAMojN7jvYGxa/spt+C7D2U6fz5VkOAndZFAdhqdibHuuNjW19DOLhcOHdb6gdka6kAc6nO+AcdOdjtJsaSuPvbNTte4pF6ZCxNc+Ls6cvQjYziBzVe4nxz4hhht8Ym0QfRHNj5X9pHca84DgFZmnfUR6geIBN/551nHHONNiZ2lbS/oj6K7qPx8Sa6JM5Y62Sz4pjcn131ueZqfBdIZY1ASV18Axy/unT3ULGI0N6iVwRppU3bGTSDUnSc3BeKKTvOXqyd+aW+yrUHH8G2/XQnwIkX32NKsj7V4jAMGIvblU3BPsqpvw0TgmHQYiJ0xCNZrhSrKzAgiw5X176o9KZcmMkP0greqwU+9aH8IxN8RCRfV095FHOkckQmHWQh7oO1mZWFi2lxy9VNGHHoLlyWxcxON7B22oRicQpVTtTTHwWCckRtLGTyYK6+0EGgnHOjUkEYLMjDwuD7LffTSToVfqBjJXPXCoSCa96pvD2/wqLRRH//Z"/>
          <p:cNvSpPr>
            <a:spLocks noChangeAspect="1" noChangeArrowheads="1"/>
          </p:cNvSpPr>
          <p:nvPr/>
        </p:nvSpPr>
        <p:spPr bwMode="auto">
          <a:xfrm>
            <a:off x="1949450" y="-712788"/>
            <a:ext cx="2533650" cy="1809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latinLnBrk="0"/>
            <a:endParaRPr lang="en-US" sz="2400">
              <a:solidFill>
                <a:srgbClr val="292929"/>
              </a:solidFill>
              <a:latin typeface="Segoe UI"/>
            </a:endParaRPr>
          </a:p>
        </p:txBody>
      </p:sp>
      <p:sp>
        <p:nvSpPr>
          <p:cNvPr id="9" name="AutoShape 10" descr="data:image/jpg;base64,/9j/4AAQSkZJRgABAQAAAQABAAD/2wCEAAkGBhQSERUUExQWFRUWGBoYGBgYGBkYGhkaHBwWFxcdHhgaHSYgGB0lGhgZHy8gJicpLCwsFx8xNTAqNSYrLCkBCQoKDgwOGg8PGiwkHyQsLCwpLCwpLC0sLCwsLCwsLCkpLCwsLCwpLCwsLCwsLCwsLCwsLCwsLCwsLCwsLCwsLP/AABEIAL4BCgMBIgACEQEDEQH/xAAcAAACAwEBAQEAAAAAAAAAAAAFBgMEBwIBAAj/xABNEAACAQIEAgYECQgIBQQDAAABAgMAEQQSITEFQQYTIlFhcTKBkaEHFCNCUmKxwdEVJDNygpLh8FNjc5OissLSQ6Oz0/EWFzRURGWD/8QAGgEAAwEBAQEAAAAAAAAAAAAAAQIDAAQFBv/EACkRAAICAgMAAAUDBQAAAAAAAAABAhEDIRIxQQQTImFxUYHwFEKRsdH/2gAMAwEAAhEDEQA/AMRsD4ef40XxHYw1uZVF/eJmb3CIUHhjzMBtcgUW4xjfQWwIIMhU62zkZR4WiWPasYDVNhYszgHQcz3Dcn2V6yKR2TY/RP3N+NvXVvhuHtcsN9LfVFi3tOVf2jWY0avYYSXq4nZkLLcEWBDC40GbeMKm4HMb60tu4Ddi9j37+I0386Icaxp6wKrH5O4uNLufTPt0/ZoTTN+E0rbk/QlhJL78vef4X9rVJPiVkNn5DRxv4XHzh7wLa8qHJNYWFcl61g47L85uAJe0NklXU2HL6wHcbMPDaqsODZ3CJZiTpbbz8BX2HZvRW5zaZd7nlp3+NPHAejxiAUDNM9gba/sjw+2pylRRKwn0L6NqZI4htfNI3Mhd/LkB51rQiAACiwGgA5UJ6NdHFwyXOsrDtHu52H486NUsV+pmyG1eZanyVwUpxTgCvq7tUbSW8axjosALnas06a9KpMU4wmBYm9+tZdAR3Z/mr3nn40X6XxST9jrxDEp+Wa/ZC8l8WJ5a+VLmDzSq0HDk6nDr+mxT6FhzOY7e38KpGNojOdOhaikhwpC4VRicUTbrLXSM/wBWh9M/XOgtsa5wcatNnmz43EsbiMEut/rP8+3h2Rbc7Vd4zwNYEzxmT4swytKIyGmb5wUnaO9rE2XwY6UL4bxFwwjhHVBtAF7RJ5ZiR8p5EZQdgKZKpGbuJoQUdWr8SnVY7djCQnRvA5TeTyWy/WO1GjxB3TJJInC8IqX6sFFxTx3+iNIFJ8L+HOljo98nN+aQnF4sgZ8RMbLE/MFjdRpyU30sSeTJwzgcUk5d0HFcbcZioC4WEgWVXkN1IX6IDH6vOjIESXhOIllRo+FQLhcJa74ue65rXu4JOeQ63zE201NtKk4F0cWKRxg4TiMQpIkx2LBEaEE5hGh1cg3HZAGmrUZlw6yyZMQTxCdLWwsIy4SE8s9zluO+Qs3cld8cKlkGLZ52JCDBYY2izm1hJIctx2k0kZRropvakKguCBDMWhDcSxYNjiJCBBCe5WHYS30Ywzd5qljIVeW0hbiWKU/oYwFw0J+tfsDzcknkBR7HQM9oZ2ygDs4DA75eQllGUhf7tPE1HNgiiiFrYdPm4PB6yEf1koAy355co+uaZE5CzjIi06DEymaVWUrhcKD1ceo1kbQmw5sQNNjS7h+HBZtQwtKfQuT6RFgRy+69NfGcQuHQx9nDJv1GHs0zeLyfNvzP+KqcOAujsoK9pyLHUdo217/xroSq/wAEb5V9mFcA3UJZeqwMZPK0k7/aL/vmi+AlC9uKMKeeJxRLP6lJuPIlB4Un8MNnZgApzEGSQ5mOp2uftv5U04GRbhrZmHzpNbeS8vdRcVQim2wxFh+t7RD4kjUNL8nCp7wlrHzCn9ap+GKTn6xhISb2i7KakgAkG7aKNydhQDiXTnCxD5WTrCPmjUewdmkfjHwuS3kaA2RzlA7JyZFXY+Oa/q0pODKKS8NdxvFUhTtOkKdy2Hv5+oUuN08wQNs9/GxrIoIuIcQbsK7Zj6Rvr+0d/wBkXot/7Q43nMgPMGQ3B53ub06hFd/8M5Sf8sUsR0SV9YJNT8x9DqbaNz9nroT0gwzpO4ZSouQtx81eytjseyBtTZwrHZWv3KxIKg8uzuPpldd6vrPnARgJAbDKwv4c6SWKMnrRDH8ROCXPZmYF6Y8PKYYy1gwQDLzBOoBHd2sxN7aKKK9K+GQZlSNArjKgKiwNhqTbQkD16amhnGuHzIkRS+RtgpOYltALfO7NhpffXeoODizujmU40vR06LcAwk+AVGWObUszLpIjNa923BFrcgQBpS9x/wCC6WO74YmZBrlNhIPVs/qsfCk/C4ySF8yM0brzBKkeH8Ka4vhRxHUNGyqzsMvWDskA6E2Gma17EWseVLoamuhMZbaGvKsTxpbMjHxVvSHkRow8dD4Ub6K8GDnrXF1U9kd5HPyH2+VI3Q6CPRbgRjyyOLyN6C81B8PpH+d62Pot0Y6heskF5mH7gPLz76q9Dei+S08w7ZHYU/NHefrfZ9jflpUr2wt+EJSvClqsdXXYiqgpTNem1Aem/HXw8doBeQEFjlzrGuoBkUEHXkNL235HFsbJjsVKRiMQxRQHZnktEFJ0IUWGtiAAL30tW4urF5K6NY4z8IeGgnSAFpXZgG6sZsl++3pH6o1t7Kk4zx5I1u7MitoqqLzzHYBFH6NSdLnXyrIhikiQjC/JR7PinHysnesaj0R4LrtmK0Q6OcQEJBGTDqbHr5rvMQDcFEG2uo2H62t2jFCybSHTiPAmmMZxYKRX/NsFCp6yQmxOc7A23JNhzNqJ4iJI+rjxKCSTeHh+HF0XuZvp25u/ZFtjvU/CsUqQmVCYIW7UuLxJ+XmOoHVofR30LWUckN6qycPkALITg8NLYGaRS2MxDWJORD8o+bSwI01sttaf7CVZQ43KHITGEyu36PA4a5C20Gdh6RHfootzFJeP4HLAxiZFRsoJQMGJB1s7KdT9QWF+RrSMPw9cOMqq2EEnzR8rxDE+JIv1Q9tvq1Bj+DqQIurWFtWjw8a9diXYiwaV79kd5Jt9bS1UjT7JytdC30XcTRdXIJpBHvh4nWNZbkBSwuosNiAQO++1P8JNlglbKAOzw/ADUDl1swy5F79Y18WpOl4K+HkEyrYqbOvjsQfA7edPXBYQY1SHMsLDMIsNH1Jb6RmxJOhvcHKVY2+dQyRobGyyiEAQEiBQNMFgtZLH+lnFurB8Mg+u1ccX4Wow4jMKqiywuuHw75HDdYgzvPoAwvm5ElbZjejWBw6qmSMKqjUpB2UvzzzaFj3kWPfeg3SvEsYXijyhApzKg0ZiMyqGO59Ek6Dtr41EsghhoBGvVqBEL6w4ftSE/wBZMdieZ0P1jQ3iEhUFE+THOODVz+vMdj7D4mlfhvSHGxwrGYZTYa9uDtHmSc4Jvuaml6RTsuVsNKB3K2HX7JRTQkk9iyg2tAHpG2RSDliHNU7TnxZu/wAaO9GQHwTMPok+vq1b7SaC8Twkbo7yYWfIgzHLJHm0DFiMsttANeeotRDgePMEHVx4WcRkABSY3axXfMZNrG2/KqTyqT0TxYXC2zPMd0yaKaUAC4kcD9420GvvFUjx/GYs5Ezvc+io09g0Hrp0k6KYRpDI+BxjMTc3KEE+Qko6nGfi8eTDYSeEC/oRKpJO/aDFh+zapwfFFpwUn0JWF+DDEsV+NOIQwvZiWblayKCSTfSwOxpuwfQfA4IB8QRf5pxb9UD3ZMMl5ZdzoctMnA+jryQJNLizhYpALpCqxTMdm6zENeQtcHRctFuCwYCHt4LD9dIwv1oBdz4tPJdveabm/AcV6C4Jp5xlw2FmkQ/Ol/McN59Wvy8o8Gvepx0Ox3/6tfAYJiB4Al7nzpkw3EpWmVZXiiNi3VBg0hA3J8PGwq+eNRfSpbkFJH5iGJQRsWFiWVNLD6TnvB1VavcIky/Khgch0Vri55bE21I1F/KuMD0KxGIBjV0RlVXCyAjPmGW4I30jve3zqo8a6PY3DIFeF0A+ctmjI3HaXQc97VSOTVs5J/D26R6+IE0+ZjlCaFtx3sbi3fvpRjAQ9diC4IaOHRe4udT5gDl4+JpR4XxYwoxCtmIsD9b8L/ZTX0cwyGJerY5h6TocpLHU5la4bf5wPqoKVjuHFBHifBocRpLGM22bZvUw+w9kd1KfFPg8kXtQMJF+iSA3qPot5nL5Uz8Z4lLh4iSqy8l0KsCdrrqCO8gjwFRDiEiwhyvbK3yqdL+Z/jUpyQ+KMvDOYuFSGURFGV76hgQR4kHYW1rc+gPRJciSuOwnZjXvI3Y+v33pa6NcDedhpeWTV25IvcPqj3mtgwuGWNFRRZVAA8hUV9TOrpHuSpEFdqtVuMcXiwkLTTNlRfWSeSqPnMe77qoKWndUUs5CqouSTYADcknQCkXHfCIuIYphnEcIIV8S2UGx0PVK+/6x8wG2rPum3TOfinZiNsONeoXR7jnIv/Et9W6juBoR0eQqc73sPRfQhGGotHvIdtARbe4q2PHb2QyzaWjZeG4xYYsrDqcNs2YZp8Q537Ju2u1zdzyAFjS/xb4PklvJCmW9rYVzq43DWGwAt2QdxuNqLYHBzwKkkgJQi/XuGeSzADLHHlvHew0Itto1FIcUQypGWUuNUBJxEh1v1jaiIXA57E6ptVGnEipJmN8d4G8UhKqXe+XtgDqu4LGQBYa6kAD6ItmoFHhcrdY5LPe4BJNzfe+7er94VvWO4CMXZp8gKgX6u3VRrcEiSY/pWO2Ud+t9DSn0o+DRms8O9uyNQjC5PZB9DU3tsb+N6RJMo5SoEdC+lq9cGkKBx6M04aYpytBh10zdx38TsdVw82QhiZEaQenL8rjJtCB1cC9mBRmPKwvqg1NYDLw50c+lHKp15Nfz5ef/AJp96BdNFUGGU9WTbMQwiz/2uJYmV/BUA9lGcGDHlXQ9T8LZSRGHjL2zdX8rjJdFJ62duxABmHM/VI2qDA4UAMqgIt7ukLEC/Pr8Y3aY94XXzo0ljFlQKFYaDJkTWxuIv0kp03awProVxjDkEEm9vRzAWXbRYh2VI7zrQgr0bI62ibD4aI2WyZCMvYUJEBroGY5pGJPpAeyhHE2/J75JLGJmBUsLrfYEi4v9FhfexqljulcMJJd7t4nM34J7vOuY+luF4xg58JLIsM0YzQuxvm5C3NjfssouSCCLnajXHsnF81odMLx+Jo1kdwFsLdYV08BEhygjbUk1QxC9YuMuSSBLv3ZEK6ctD7qQ+hnQbGjErLi+xFEQQhPacj0dN8t9dbXy+NaabBHB5owPrRR91Rkl4dGO62LOGF1U+A+yk74R8OzGAqCdJAbA/wBWRsKdMEziNBYegtwbgg2Fxa3fVhZn7h7f4VFaZZoTOgUJ+JSIwIJeQWIOzInf66JSOfiCsCVPUQsSpIPzCbEajS4phuzEXtbbfy8KVcXA78JyoVB+LWOYE6IpzDTnpoeRrBQWbgQB/S4j++f7zQXjEow0sK9ZiWLtlKkvIpVkkUa2tcPlO97C9MXDMM6wRq5BYIoJAsNAOVV+NrZYifmzxH2sE/1VqMAOj3GXMeGijwBxkxRC0kmZ0QZypsALD0bkkjXXWm7EcI4pOv5xiFw0Zzjq49DYkBBaM9oW+uD9gv8AwXyNHgTGQQVnmUXBGmYlT5Eaij2KUsrk6kN7gRaqxEasDcF4FHhbxxr825Y+kx1uSeev20PeMgnfemiYBZb960BmiOZvM/bVExaMPg6cPHO0clnw4YqMy5njXbMh3GozWvamDG/CM2HWIYaYYga5y6ta2lhdgDcCswSZibd+w3HlaiE0dktk0PZUg22sWOvIk/bUE/EUpdseIul/C8acuMwvUSH/AIsR08yy2PuavOK4+PhyBsLio8TGXy9UwUuOZ+UjIOmnpDmKzsYVSNHF+5tPY2xrh8E4Ga117x2h7RtR5MVxTNIwvTbC4tepkDQM9gT6S7i/aUXsR9WtAx3RGCaFBh3GgAUrZlPsOnt0rLPg/wCibTr1iLnc5rcgijQ6nmTpWzdGuADCprrI3pHu+qPAd/Opt8uxopR6LXAeDLhY8g1Y+k3efwHIUVU1yhrnEYyKLL1kiR5zlXOwW53sLnU0yM2WVsN6RfhO6OJjYld8UcOsNyubWMk7kgWa9tAQTpy1NHulvGRDF1aXkxEg+SiT0zqO1sQqDcs2mlqWcH0dkZ1m4iwxDixWFTaKM8rg9mQ+ZGvI08UTk/EZnHwCZE62WHPCAGSYXQE3y3LmxCaE2YAnS1i16O8E40olSSy4gxtrJaxTW9urIswuDqRfXTLudKxPS2NSUQCSS2qnsog2sQdWO+gvtyoJF8G3xomT/wCMScwdBk137MY0Hnp5mh/WwhkUO39vPyM/gsk8fPpff38Gi8C6TQ4pLqRfmD+HKo+MdHs93iNm3y3Ko5FrZslma1tr2rKpMLicFMy3XE5RmLQG8irewLLv3XLADXemXgXwgidcqy3NuWjjzU7+Y9tdLxV9UGc0cnJcZrZf4fxESNkcZZI9BdVJTtakQC8cFh85zm02NX+GqqyS3tdyhZuszl+yoGaQi/K2RBbTek7ifBHjUywG9rtbdL9+Q3Ct9a1TcNV8QpkM8qscoYWiIBCITYtGWtrzN6lOltD4+TdMa+kHQrD41e0MkoHZcCxHmO7wNYj056Hz4Jh1gtr2ZF2PkeXlTfxjjJw86wmXEEvlIIENu0cv9FRcYeTrJA2IlKqikC0RtfrL7x6+gN6EczS4+BlhTfL0zjon8KkuDBjkXrE7gcuveSBmb1k0Sm6Q8Q4oGEMTImmVh8nGuvbzOSBse/1U6wwTEBgZ7EAjXCDcXHzK5R7uUdsY2hBSIx57jqTo0SqVBEgu2YWAOorKewvEq0J+E+DeGIr8exJeQ6iGK9yBqbDKZH05pGR40/dHej8kYBweETCp/S4jsMR39WpMr+TSRDvWrvB0hiB+LRRRFgCSbPNm1zZghZm0tqWve9EcMrSy3ZWZQLsztZQeQWMaHX6WosaLlaBxpnrxOtw8nWNckuEVAT4KvIDTUk6b10sV/Kp5F19v31aiiBIHj/v/AApCoocKQmGP9VfsFWurqpwqE9Ump2t7LirfxU+NTHOWS1vOgmHwx+JshBHYnWx7s0gX2i3to5JAdNTvVHAKXVgxJtLOnqDvlHqWwomJOHnNFGe9EPtUGq3SOO2HLH5rxN7JYz91WeA64WD+yj/ygVD0pwSSYWXOoYojMtxsQL3HsrGCXwcT5/jYLFsmLNje/ZYXWx7rWtTRjH7Mo8QaS+gxEWIx0aAKvWRMoGgA6pbWHdpTNNMTcnnv76eKFZxO9yD4fdXJhBqCSbRf55V51pqgp+XuFwM0m1yov432G/ifdXHEZlLWBNl0G1jbc6HvvWmS/B1xHD4WTMnWuTZQwaSy7Hky2tfQkC58r55xHCNG4SeARMdytxp32BYeoAVHjRRuwaYDrazW1Nqk4fg3lkCRi7H1WHMk8hV/hIgXGJ1knyIk1cqSLfSy2v6rVt/COikEjjEIyvDIt1ZVKlxfncA2pWYt/Bxw3qMEqZTfMxLkavc3v5XJA8qZcRjI4lzSyJGve7BR7WIqtxLE9Th5JBlHVxswzXCDKpIvbYacq/M/FOJzY2ZpZWLu3M+io7hyVR3VkA2LpV8LGRur4cIpyp7bk3XTXKiggt+uDbuvvWY8W4jPjZ+uxZcufQQdkIvcAdI0HffxN96u8B6BzzxGWCMyFTY5SufYG6xscwH18p8Ad6sYhsXh1yzI6LYgwyxl1IHP5TtA8+QHKw2dIVs74Fx5oQXjlOc9ljlJQRqLgasGbc6tYDuo0nwipKQsrFVtoUuBzU52FmJy7iwGtKv5YwsoCzYQoBoHgkKkeJR7qx9Yr38h4WW3UY1AT8zEK0Lf3gzR+u4p5RUk1Imm4tSibLwvivDliV1JxMmiqoTM1zf0VGijQ9okW76JjgeNxIJllOGhOohR88pHc0/zARyXN58qwPE9HsZhu2EkAGueI9YvnnjJHrNWOj3wl8SgYRwSM9zohXP59nc0kcUMSqCHllyZnc3Z+kOF4WHCJlSIQruWGoJ72f0ifFqV+mPR/hmKe2VvjW4bCfpb8i2Xsnzb2ig3BOl0+Jt+UVZFIFo8O2UsdjmRLuR4CS/1a0bhvC4BGpgTqVIuAq5D+0pFifMGm62xdvSMyfgXFsKg7HxuEi1w6x4mPkC1syv36ZzRHo/nEbZl1L30BUHsR6gMAbXvyG2wpwx/E5IiQyxqNg7sFJ8owSWPkR5Us4GXNJiCzE3nbWxF+zHyOo8jSydoaPZ5iODxSuHeFWYWsSdRbUc++o5g2ebKBfqksCbD/wDItcgGioK959hqlYdZIb3uiC2txYzWPkbkfsmkoc74KG+LQ57Z+rTNba+UUNj6NxYjFtE5eONs+cxt1ZJK4VgpYbBiG89aL8LN4Yv7NP8AKKF4fiqw41nnURxgut3ZbNmjhHIm17DfvrJGY68O6JYXCxdXBCqKdTa5JPeSblj4mr0OGypb+fClLBcawXFHGFilnPUnrGCsyqVVhdH17Sn0bHW21OmJewp99CqnsHvDdlHeD91WOoCkef25r/bVET2cHuP4VZknvbzFYIucPj7OuvacekBs7Ab+AtU8kmlhoPMH7qh4thkGBlkYspR37SAFwOvu2UEgXIJHrr3gOFgkifKzOA11eT07FUOUnnYn325UAkDxkfOJ15+Xuqhw9spmNicuIkNhuboj6eJze+izwKOQ3H2ih+BUdbiARtOh/eghFYxS6GY1pcKuaJo8haPtW1ysV2B0Olj43teinE4c0Eo743HtU1Hwdo0jZbop6yW4uAb9Y419QHsFWMY4ZCqSohPM5W89Caxgb0e4gxxUqFrqIMO6DTTMDm8TcjnTBJJr6qSui6smJTO+cvgYjewG0klhYfRVgt+dr01yS1SIrInfsjzqYT1SMmnrr7rKcBgeC6e42C3U4qVAosFDsV/da4qt0l6Y4rHsjYqTrDGCF7KrYGxPogX2G9WJ+BkaNhJAf6uUW9jKx99VH4VGPSGIjPjEHH7wZfsqLb9GVeAkmiXDek2Kw9upxEsYHJXYD929vdXP5NjvpPH5MJEP+Qj311HwNibgo6/UljJPqJuPZSDHv5RnlLh5pSrnNIC5sTvdgTbfmanjnyABSFU65iCC2nzdAT+tpuNqJPwiCxv8chHLPAHQebIwv52pdxy/KMFcSAGwa1rj9U6jyogLSYxl1QOu92Vrk763t3Hvo5gvhDxqIY1xshQi2WYdYPVnD291KdiPmke0UT4RgHxBIDHsi5Bs+nm1lX9phRTBRZXiL7mOKa2pIADe2Ig+0V58VjmXN1ckI+mzKY/a2Uk+AJNGMH0dhjZDI6DMwHyWXEycj2QvydwCDZVY+NamOg0RVZMO0OY65sSsgmUW1tdiF1+aqp5im2DRnfQPoQJp0yTZzckZG6obXNwwzsLbgAc60HHdGo8IrkxShdc10OVydrdXnllOoF2sRvc0J4D0ZUrLJiXd8uJkS6GRcxUkahGLZb3NrnU63p7h4y4jCJcIAR2zlsBtqbNR6QrdsSIMBjcQD1MZgVgP0hGHBtztGWna/czjenropgp8MPl8U8ulhHkVI156HtMT4lvOhMvSGIWBxCM2vYiHWliNxm325aHSvuH9IcRthsFI5bTNiGKAHbUG7AeWl+6pyu9Dx62MHE+keChcyNKiy3CEpZ3vYkKct7DfewoJwvELMZpEBAeVm7Wh1VDe3LlprUEXwdYyV3bFYtGV9ciRKMuoNgx1A3Fh399VsfwaaHDTxYYP1iy2jIKqcoEYJu+hFgeevfRdUZJp7D5iPK3toabCeUn+ijOgvs2I7tTV6CIZFDatlAba+awzbeNV40HXubadXH/nnoBOeATh8NCwvYxpa4IPogbGok4VBicYIsRGJEY3sTYXEatqBv6I9ldcLxJWGNRBL2UUHKq2uB2rHNrreqsHCJZcYhBnjDyAks2UqqoxcLkN1BAyb/O50EE0HhnBIMMCIIY4gd8ihb+dt66xW1Wm2odjGooDKNhm9Y+6pwdPLX/Kaqs4UF3IVF1LE2AA8TUSyyTkZbxRd5Hykg8FPoKfpMLnkBvTAA03Sd8M8qg4MIGBDTYhoj2xnH/CK3Op0Y3tyrqfF44m5hw399L/ANip+JdH4pmKzqkqdkrG6KVVlDBmXndr+q1e/kSG1urFu67ctudAJQefF2u0MFhb0ZZGNri9lMIubbC4qrHFileRzFFaRoiQsjswyAKbKYhc2A5+2ix4FDyQe1v91eDgcP0B7W/3VjAaPhc5d3kw+EfNYgMbkHndvi9zf7q+xGCMal3wnDlUbsz5QOWpOHsKNDgUP0Pe/wDurmbo9h3HaiVgdw2Yg89ibVqCAuH44vMhCYYII3UNC5kNlKkANkVVTW+UX17rGjLSVx+RYcPGxiVIkQMxCgKp7J3vta176bUGHSIN+iR5fFFOX+8bKn+KmToFBbka8zDvFBWkxMh/4UQO1yZW/dSyj941yeFy/wD2H9UUVveK3I3EW2lW4/NoyLciEP8AhFT9UHGVF6gm3bZ3cDv7Ivc/jWk4HofGgICK2b6QBtbzGm9dN0Kim7PV9VzzKttuV7Wtr7q8+LzId8WI0XRCBwB8YiNuTFBc2+i0Yt7a4xfwfQNa4gIH0bf6JD9gp6PwXpynceoGoZPgzblPfwK/xqnzMy7QOMTN5uh2DRrR9lzqDHOyADvJcBffV0fB/nGmJnb9Z4MQvsc02Yz4PHsQSp9VK3A/gxkjxbKzF1RQ4IOTVi9hfXQW5WNKviJdSjQyhfTIYugTIbB4JMx9F8GUzAC/pQgg2N9bmpeiXAZoZpmiX4uyOiHq5nUSBhmW3W3BF+Wlaf0T6OLA0hyrc5RcFmNu0fTcljvzrs8OSbE4hHAZbRix8EBGu9+1vvXTCVqybRk/TLjzxymPFpJGyWYP1MMmYHZiyqlxpb0jqKA/+q4QPksS4NtpOuiX2RZh7RWzzM5do7MsYLLcydYDZrWKuDobbHu8q7l6G4Oa/WQwyED0mw8eu9rMgU6DTltWWwCLwrioh4bC0kzQ9ZiZ8zRiIknU6dcyaa8hfbSq7YvhjkdfPjZ9O0ZY5HivuOygIB5U6cH6KK2G+LzRCxnmYKy3GRnJUj0gLp3699FH+DPANvAm2nZQWAtaxC3FUYEjP8T8NeCw46rDYIyZbAGyQKQNiAAWtYcwKrcR+FriYaNUwsOH64KUzBmJD2tqzAcx837KfH+B/AHZZVHcJWtzGx050YxfQyB5FlYyGRLZGLk2sVb7VF/XShdmS8B6R8T4meqadozoSS/VXGpYqERWNgNrkaimeHo7MMmUx5Rl60yGTNIAkYujo53IbtMCb8rAEm+F9DUw8olg1N5Q2cm9iHWwIGvata/LnU4kCgBiFOUCx0Om+lZPWzegibgJ5QweuSb/AG1wOjrHeODuuJJb2uTY9nXc+2jolU7MDpyINSXrDAiPo8AusOH0Gnak237u81xwHgjxYyN3EOjNlMSZcgIIAJZiWve1xa+txReTFILgsoPcSBXvDsQrTLlZWsRexBt7KxhqkOlB8fiQhtYu5Fwg3t3sToi+J8hc6VcxGIZtI9F5uf8ASDufE6frbUKkULcDnqSTck95J1J8T5DSigMqLhy7h5SHYG6qP0cfdlU+k31217gtFk/n30ORtavx/wA++iAr4lO0fX9lcMmlUukBYtEqu0eaUKSuW9jHIbdoEbgcq4/JL/8A2p/+T/2qAS6E19tRAVR4HjAXmj60ylHFict8hVfoAD9IJF23U91EFH2/fWMfL/PvrwDT2UP6Q4nq4b9YYrvGucEAgGRQ1swI9HNy5VxFwgsAy4vEMCLghoSD5HqqJghiUujjvQ/Y1LkWvjcc9ftonBA8eIVDNJIrxSGz5DYq0QFsqLydqDwttSsZE2fSus1QE71IDRRgrgjbigAuAInJAJttGBcXt307xy1n3CsYPyhKzFFAjsDnB3a3O30aak4tH/SJ++v41DkkZRYWxkto2INiAao8NnZs92c9twNrWBAGtrA+FUuKceiELnrY75bi7r3jxpc6CceiTBxxtIgcAMwZrN2rWOo1/hTck1ZqY8S/rH/D+FCoP0836sf+r8aQ+JdN8U+PljwbxvGijQ2KC2XMbll7VzarHDek+KbEPGwiEhXMbLmBAAsLLIT869h3UuSDSU30aE024r3RpGHltm05X9n/AJobgpgmMxJchVLIAToCerhsLnc60uTdMmySKCvWLdWIUkAWBbTw5nYd2hqvxnEGSKFpNWkxWHOoA1yw622HfXNP4tQcFH+51/so8TW2HMdKVLNv2jz+saI8PlvEpsNV7/Og3E3ORjv2u/U9qp+H8SXq4lzBXdLqjHKxygF7KRc5bi/nXonOMMMhzgac+dWHbKCzPYAXJNgB66H4S5kF7c9jVnGYQTI0ciKyOpVlLGxB3GgoDItgeNe5T3/ZVYYwC4uoKkA3awBNrC5G/hU2Zu5f3j+FKEgRAG0+kT7SSffelLGNC+PljbI7hFOUqGKjPJrqNL3H82psDdr10vyr+eSn6if55qCMDxhCuKXKsSoYn0VLMTmi3YG1vV30SIqKVfl0/s5P80NfYPiMcpbq3D5GKtbkw3B8daYxTweCvJOXWNh1mnY7XoJuTe+lvYe/T3DNEuNSMZQ5RTky2uvWb7WPPSreBW7zf2g/6UNcydnFIQL9i/naWP8AGsAasSdKB4ga0QxE3ZFB5JNaKAz2Ia0Si5ULhOtEoTpRALPTnETIYDDGX+XjuQwBGuW1jqbhm15WuaOA1U6RH9Ge6aD3uF++rVAYG8PQCfE2AHajOgA3iT7waIAb/wA86o4XTE4j9WE+6Qf6autMo3IrGB3SFQcO9wDbKdddnQ/ZeiOW2g0Aqh0gH5rN/ZufYL/dRA0TC9xWaZeIYQxoXVllVruFUfoyTsdQtzb52Ud1DwbNbuJFMPENJsKf61h7YZvwpana0rjukYe80khokrHevr1HfVq8D0AmeRcJDOTGshVSpGgvrpbw7JOvfyq3DwKYvIVkYIASB1YZzYEgFQ411Gg/EU+8IwSZ37CgA8hRzC4RASbDU/cKg4Rb6LxzyiqRj8fCHw6yMVnmYoVA+L9lS2XXMXIa1iPR9lE8LBMFUCKQ6R62b6OuhAOla3iFtEbC+lRQQLYGzA0zxqn9yXzXezEoOjWLeRmML3Z3a7C41ZrUzdH+B4+CVXRCrfSGTQHIG7JIBOUMP5vTnjeLRxk6ki51GY68xoLA+FU8D0pVnIAOnO58ORronbhT6OePBZOS7AsnRXiIkHUsnVyAGVZMpGfTOBZScu9henfB9HGlhQYjKsqzCRChZlVlZSulxmFlAsatcPgZ489vaTVqIuGXs6BvPauLJgxuUJV07X+GdHOTTTYt4/iIt1edc9lcrzylgM3dvyorgEPVobLcKNTYHUC9tNPVWfycfmJYHCqGBCqxcKxUa2PZ0F+V6sf+sceFCLgRlWy5jKTcCwuLJ667btkTQuF4ljiACVPZY6X8KMDHjXsvp9U6+VZ58H3H8RLjCs8ccYEZIyFib3W4N/VTpwPCSRCQSTGUvIzqe0cqG1l1J2ty01oBLOLw8UsZWSPOrMrFSDqylWBIGuhUH1CphxEFsuV/PKbVF8dUNqwBPeQO78PdXQxy/THdvWMcdZ2h50Jt+dzfqJ/nmqzNjAGHM39nnVOCdji5AUYDqkOcgZCc0hIBvv2v53qUJKUmkM1SIsQh+MIcx/RyaaW3i8L8/cK7wuBEZYgk5jfXx+7SusSPl0/s5Pthqcmqgsq8OW0k51/SDn/VxH7/AGW7q5xjZZ1a9rRt7pIakwR7cv66/wDTiFU+KljMF6tihgku+mUEtH2SCb6geO/nWfWgBZ8RdLnxv7TQxMSGsykFTqCNQQdQQe6g/SXijQ4Cca36tlQ8wW7A8x2t9xzvvVXocGXAYYMLEJbv5m3utUoZLGcaGzDmiUG1BuHy3ozBVyYL6Tegp7pID/z46tVV6VaQk9xiPsljNW23oBAmCxLnGSgxst403IOitMFOn0rnTcW1oRxvgQkxkcxjz5VsNTowsQbbaW50fU2xreOHT3SS/wC6iR3/AJ7qyQ8ZOLtA3jpb4rNlXMTG4ttupHP2+qpeE4p5IlZ4zESPRLK2lhY3XTXuqfEJmRh3gj2qRUPCHzYeE98UZ/wLRFIOLmzYc92IT3pKv+qlLiU1sRMO6U+/Wm3jg7MR7p4D/wAxV++s/wCkExXG4of1kbe1E/GkyDwDGftnyqLrajWX5QeK/dVdpNaSwjJ0XlDGa6jRwB7PFR99NWFXuC+z+FZ7wbESASmzrd/nnuAFxdRpTRwjiyql5HN79/LTxqk1UmcsJ2th/icJaFlvlJFr+o99VcOAI1BNyFG/lQji/TKJU0NzfvHdQJumrPHaJVzDZTcXH1SDa/gazvjQeSsv4jhUKSPJrdjfc28tOVVOAOhD2tpKw0AG23L1UkcZ6ZTAN2VUjkxC+7Q1U6PdI5LODIt7l9FvvvuNam1J7GTSTP0LwEgwg3vcn7a6wTEGW4t2jbx1bWkDoN0neQKtz7LU5xuQJAOZJ18bny51XhfZuQj43DqDmubnKLbjS+1+f4UwYXDRlBo17Dw5DvqtiMKhWxvf6h1J15be8Vcw+AkGWwJAFrWC3211JPqrpkk1s542noiThKu5UAAFCDyJB0IuPOq2B4CgQCNTkTsABn0tbTcGu8TxIxMbix7ufv2oeOk5DG2i8h30qw30U+ZXZZPB4w12BBHi33mvfyPC2W65srZ1ub2YbEX511gulha+Zb+FGoVV9SgAPdp/CpyxOI8ciZBh1uRpVPEcYK4nKgR9BGR1qKwZS5ICk3Y2ddOV6KrgBurke8fdSZx/ojE0pfqhKys0mj5CGcksfMkEnzqCg09FHJF3jHGocPiIpsU/UXR1XMxIbVL2VbgWuNfKvm+EXh9v/lR/4vwpP4z0Kw+IaNXD4ewY3DFy1yosc97c9qEz/BbhwxCzS6G1yqkbE8vKnqgckP8AwHpLFiJp/iny5GVmbMygAgACzC26nUCrs3GwZ8rdWjIrIV61WbM5jKgqNVuEO+9Z9wn4PQplKfK2Krv1ZvYE6Abaj2UT4b8HYXFx9ojOwYgMSDkKtZtrjbv2oJM3JDbxWxjOgNxz1Hvpe4FxbIgUKoFz2F0G+6DYH6ugPKx0Lpxfo1IRZQD5Nb7aRsd0cmS4ysKnlxXtdjKVdjfwzEK1mQ5lP3Gxv5HQ93O1MeGOn8+NZXw7EyxPmBAfnmJCyW5Np2WtoJBqNiGG2h8A40k6m11dbB0bRkJ2DDuPJhdW5Ghiy2+MtP8AnQZR9XRS6fcQ6nByvlZrLsqk2IOYFreivZ1bler2DxvWxrIFZQ4DAMLEX11FRdLB+aT3/onPsW/3VOkdlAUWAAAGugGgroEKTj88Xxw7e6RP91X8/wB1L2M61cdETKgQpLoVscg6osuYnU3s19LBT30fQXI8QPvrBPU1t6qpdHz+aQeESD2KB91W0NwQCLi3jY8rig3RKGZcOBNKr7hQqZMoVmUi9zm1G+lEx90vx5iw+YLm+Vh0vY/pUbS+l9LC/MikLpZPmxk7ZWTNHC+VxZl7KaEXNiLVoPSSNWw0uYA5RnF+RXUGs9+EviXVcSNwLPCl9AdLuOflyNTy9Dw7Lkc3bi8Url5NT51SwnFYnyWIBXYXIJH6ramiLQITe7a6+j/GpKSKUwDPxJUUhJG7zZQtz33zMT7BXuHZXFy7E+Lfwq7iuFwRqcsbse92NvYgS3tNLZx2ViOyB5ffv769t4F3R898yXQ3wcOh6slpO0B5n7SBQDGM2Y5GGX6zX9y3qjFx8E5LljroBz5ab0NeafnaMd7sqe5jmPqFc+THR04m34GlRMSpSdu0NBIq2YeBJ9IeNqlTo+uGszA5W0Dk3U37ioAvSrK6Xu85Y90ak/4nK/YaO9Hem3UKYGiaXDOflI5GDEj6pygLrrty5b0kMey7ujR+jOHSJRJEA621yksw9WppnfpFEgAbRm2BIHupDkxhy9ZgH+RNs0QAV1J+ZlGrfzq1WcFho8UihgwXUlrqpjPIHMb28r11LBFK2Q+bK6Q4xcQCm5FjvYD7z+FccR6Y5LC6tfla/v0FCIsE5BUsSiiwksVv6zq3nUGE4Kj5mDBgOQP30jhG9lVJ1oN4fFx4n0gb21/hXX5BiZdAQO/+NQ8LnSK5IVeyNtTfnqeXqFVcV0qDEgX3HMX3GmvPXalad0jJ62X24R1Y7HdyGt/OoMfxlhoEY230NVYukThspve9rc791W4OIBz2gF5k3t7b6UGn6NrwHvxWYjUNl7l5+vlVjg+Id5SuXSwPMnc7++iUePgzWkZbcmsQP3hv9lVMbw+SbMI50Kj5sRuD5gan30v7AKnFWgWVWLXZb9lNTc2tdthax796hk4pGW1iUag2vck/yaoT4CVCQLADuHaHnmoVNhpEzHS+5Jt916KxoVzfg6wcQS7ErlzEHQg30HK3h31Y4bOHxkZUjKqte47QJy2ty/8AFJPCzKzWSzD5xHor45vDe1OvQoR9a2T5R9i52HeFH3mhKKitBjJyaseMQmlKnFF10NNmIGlKfFsRlJ76hAvkBGImSLWSzE7IdfWb7ChJxoLhkfJIuiuoHZG+Urs8Z5qfMWOtW8XDE7FnW5O5DH7K4XhKSWWJih7itx7R9tqjnwPIt/s12hsWRRLeM6TAw5cQsYLHI6iSy9WRZnVj6Q7l9LW24uVDgnTjhsxcSxywZbWzyTyZr3vYITa1hv31a4hwZgWXPG7KdVV1JuPqtY3oWmC6pSWiKA8ypF+7QikXOKqW2VuLeiPpZ05hwrxNw9UdisgdpEmNgclgOsI3sb2HIUG/96uId0P92f8AdV3iEEb5cwB3sR945V4OBQkXCKL/AFb0ryNeDcQSfhZxt2IWFS5uxWO2Y8ide166PdEel2FlWQ4+IdZmuvVwXBBuWuF55u/vqtwTo5DLiljdBlJIOlr9liOemoG1TYzBLh55Y1ijZQ9hcG9rAjtKQedUhclaQkvp7LvF+muAjkjEWBWRWPaZ4+rK6gaDKc2hJ5bUM6d4xMZMkqSRkqhQqMy3AkkKWzgXOQi4vveucY8JALRMtuatcexlJ99UuJwQ9gq7C4v2kH2qx+yjOE6NGcbAqxkC23hy9m1Sh27z/PrqycLcDLJG37Vj7GtXvxGTuHtX8alw+w/IcOMQRj05ifCJGa//APSZlHsQ0icTxCBzlU25B2zfYFX3VHLxiRn1YnXnrXHEptBprbewr6RyUou/DxoY3GatER45IBYEKNNEsg7tQtgfXVEKGJJaw9/sol0e4A2KZlUqCANWJ01HIDX2irE8WFgbKyyzyDe5ESf4SzH2ivPlbO7S6BdktZQzMe/8BRLDdH5dGlyQKdbzNkuPBfSPqFeP0gkGkQSBe6Jcp9bm7n21Ti1a51JOpOt/bRh2JJ0h16O4/D4WQPHJNNKOUYEMRHczPmZ18MorReG4iOdRJaOGQnUKBqe4yFSdfGsiwjqo9G9OHB2Z4rLZAea3v7TXpPCnG29nnrM1Kq0WuL4qaHEkSAjMey4JZfAFu7voxBwq0XWJZZCO2Va6H1t6VXOEY8yZcO4z2HpvZ28N9PdTT+QkWE5mbJubWzeNuQrjyZOLqR1Y4WrRng4VNJfZcoB1vlPr3BqSFCWDzSrHuq6G/cdPI6Wub+VHeK4781LQxRxqFaxN5HOUqo1IspsSb2NrDzpLxOJfsqLHMobMQLkbkEWtztpYeFJGXNjtKIYaGNW+SZmAFsx0bkTYb8+dqikmFrg37ybFTyFhbfxqDh2EMpyaKbHbY28LaUSgwllcsTZOybWNzpYAEWt4+6n6F7KEnEmCkING0zG178/5FDmnljPyburHmL3NtdR3fjRyyqRmQEG/okgj1m96ji4YM4FgSxyrckWJNgb2O3l7aZNIVplPBdMJlsuICSr9ZbE38RoO7QUV4lFhigaTrIA+hQspNjva9yB5n2VaxuCjwJRQolxDAlXcdiPvKr36fx5Ui8XjeWRi8hY8ydPHS3LwqMmpO0PFuCaew5xrDs8XVQELCAMojN7jvYGxa/spt+C7D2U6fz5VkOAndZFAdhqdibHuuNjW19DOLhcOHdb6gdka6kAc6nO+AcdOdjtJsaSuPvbNTte4pF6ZCxNc+Ls6cvQjYziBzVe4nxz4hhht8Ym0QfRHNj5X9pHca84DgFZmnfUR6geIBN/551nHHONNiZ2lbS/oj6K7qPx8Sa6JM5Y62Sz4pjcn131ueZqfBdIZY1ASV18Axy/unT3ULGI0N6iVwRppU3bGTSDUnSc3BeKKTvOXqyd+aW+yrUHH8G2/XQnwIkX32NKsj7V4jAMGIvblU3BPsqpvw0TgmHQYiJ0xCNZrhSrKzAgiw5X176o9KZcmMkP0greqwU+9aH8IxN8RCRfV095FHOkckQmHWQh7oO1mZWFi2lxy9VNGHHoLlyWxcxON7B22oRicQpVTtTTHwWCckRtLGTyYK6+0EGgnHOjUkEYLMjDwuD7LffTSToVfqBjJXPXCoSCa96pvD2/wqLRRH//Z"/>
          <p:cNvSpPr>
            <a:spLocks noChangeAspect="1" noChangeArrowheads="1"/>
          </p:cNvSpPr>
          <p:nvPr/>
        </p:nvSpPr>
        <p:spPr bwMode="auto">
          <a:xfrm>
            <a:off x="2101850" y="-560388"/>
            <a:ext cx="2533650" cy="1809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latinLnBrk="0"/>
            <a:endParaRPr lang="en-US" sz="2400">
              <a:solidFill>
                <a:srgbClr val="292929"/>
              </a:solidFill>
              <a:latin typeface="Segoe UI"/>
            </a:endParaRPr>
          </a:p>
        </p:txBody>
      </p:sp>
      <p:pic>
        <p:nvPicPr>
          <p:cNvPr id="1036" name="Picture 12" descr="http://www.neowin.net/images/uploaded/Microsoft_DC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24500" y="1402507"/>
            <a:ext cx="5143500" cy="367665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Azure datacenter4 400x285 Amazon, Apple, and Azure: Is there is a Connecti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25700" y="1796411"/>
            <a:ext cx="5403566" cy="38500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1896205" y="631605"/>
            <a:ext cx="5961888" cy="1323439"/>
          </a:xfrm>
          <a:prstGeom prst="rect">
            <a:avLst/>
          </a:prstGeom>
          <a:noFill/>
        </p:spPr>
        <p:txBody>
          <a:bodyPr wrap="none" rtlCol="0">
            <a:spAutoFit/>
          </a:bodyPr>
          <a:lstStyle/>
          <a:p>
            <a:pPr defTabSz="1218987" latinLnBrk="0"/>
            <a:r>
              <a:rPr lang="en-US" sz="8000" dirty="0">
                <a:solidFill>
                  <a:srgbClr val="292929"/>
                </a:solidFill>
                <a:latin typeface="휴먼편지체" panose="02030504000101010101" pitchFamily="18" charset="-127"/>
                <a:ea typeface="휴먼편지체" panose="02030504000101010101" pitchFamily="18" charset="-127"/>
              </a:rPr>
              <a:t>Cloud Service</a:t>
            </a:r>
          </a:p>
        </p:txBody>
      </p:sp>
    </p:spTree>
    <p:extLst>
      <p:ext uri="{BB962C8B-B14F-4D97-AF65-F5344CB8AC3E}">
        <p14:creationId xmlns:p14="http://schemas.microsoft.com/office/powerpoint/2010/main" val="2593211671"/>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36"/>
                                        </p:tgtEl>
                                        <p:attrNameLst>
                                          <p:attrName>style.visibility</p:attrName>
                                        </p:attrNameLst>
                                      </p:cBhvr>
                                      <p:to>
                                        <p:strVal val="visible"/>
                                      </p:to>
                                    </p:set>
                                    <p:animEffect transition="in" filter="fade">
                                      <p:cBhvr>
                                        <p:cTn id="12" dur="500"/>
                                        <p:tgtEl>
                                          <p:spTgt spid="103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38"/>
                                        </p:tgtEl>
                                        <p:attrNameLst>
                                          <p:attrName>style.visibility</p:attrName>
                                        </p:attrNameLst>
                                      </p:cBhvr>
                                      <p:to>
                                        <p:strVal val="visible"/>
                                      </p:to>
                                    </p:set>
                                    <p:animEffect transition="in" filter="fade">
                                      <p:cBhvr>
                                        <p:cTn id="17" dur="500"/>
                                        <p:tgtEl>
                                          <p:spTgt spid="10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4148906" cy="68570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134" name="TextBox 133"/>
          <p:cNvSpPr txBox="1"/>
          <p:nvPr/>
        </p:nvSpPr>
        <p:spPr>
          <a:xfrm>
            <a:off x="134797" y="1654586"/>
            <a:ext cx="3879312" cy="366899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9411"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Light" panose="020B0502040204020203" pitchFamily="34" charset="0"/>
              </a:rPr>
              <a:t>&gt;80% </a:t>
            </a:r>
            <a:r>
              <a:rPr kumimoji="0" lang="en-US" sz="5882"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Semibold" panose="020B0702040204020203" pitchFamily="34" charset="0"/>
              </a:rPr>
              <a:t/>
            </a:r>
            <a:br>
              <a:rPr kumimoji="0" lang="en-US" sz="5882"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Semibold" panose="020B0702040204020203" pitchFamily="34" charset="0"/>
              </a:rPr>
            </a:br>
            <a:r>
              <a:rPr kumimoji="0" lang="ko-KR" altLang="en-US" sz="3137"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Semibold" panose="020B0702040204020203" pitchFamily="34" charset="0"/>
              </a:rPr>
              <a:t>포츈 </a:t>
            </a:r>
            <a:r>
              <a:rPr kumimoji="0" lang="en-US" sz="3137"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Semibold" panose="020B0702040204020203" pitchFamily="34" charset="0"/>
              </a:rPr>
              <a:t>500</a:t>
            </a:r>
            <a:r>
              <a:rPr kumimoji="0" lang="ko-KR" altLang="en-US" sz="3137"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Semibold" panose="020B0702040204020203" pitchFamily="34" charset="0"/>
              </a:rPr>
              <a:t>대 기업 </a:t>
            </a:r>
            <a:r>
              <a:rPr kumimoji="0" lang="en-US" altLang="ko-KR" sz="3137"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Semibold" panose="020B0702040204020203" pitchFamily="34" charset="0"/>
              </a:rPr>
              <a:t>80%</a:t>
            </a:r>
            <a:r>
              <a:rPr kumimoji="0" lang="ko-KR" altLang="en-US" sz="3137"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Segoe UI Semibold" panose="020B0702040204020203" pitchFamily="34" charset="0"/>
              </a:rPr>
              <a:t>이상이 마이크로소프트의 클라우드를 이용</a:t>
            </a:r>
            <a:endParaRPr kumimoji="0" lang="en-US" sz="3921" b="0" i="0" u="none" strike="noStrike" kern="1200" cap="none" spc="0" normalizeH="0" baseline="0" noProof="0" dirty="0">
              <a:ln>
                <a:noFill/>
              </a:ln>
              <a:solidFill>
                <a:srgbClr val="FFFFFF"/>
              </a:solidFill>
              <a:effectLst/>
              <a:uLnTx/>
              <a:uFillTx/>
              <a:latin typeface="Malgun Gothic" panose="020B0503020000020004" pitchFamily="34" charset="-127"/>
              <a:ea typeface="Malgun Gothic" panose="020B0503020000020004" pitchFamily="34" charset="-127"/>
              <a:cs typeface="+mn-cs"/>
            </a:endParaRPr>
          </a:p>
        </p:txBody>
      </p:sp>
      <p:grpSp>
        <p:nvGrpSpPr>
          <p:cNvPr id="5" name="Group 4"/>
          <p:cNvGrpSpPr/>
          <p:nvPr/>
        </p:nvGrpSpPr>
        <p:grpSpPr>
          <a:xfrm>
            <a:off x="4380517" y="309774"/>
            <a:ext cx="7542244" cy="6214548"/>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Malgun Gothic" panose="020B0503020000020004" pitchFamily="34" charset="-127"/>
                      <a:ea typeface="Malgun Gothic" panose="020B0503020000020004" pitchFamily="34" charset="-127"/>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505050">
                          <a:lumMod val="60000"/>
                          <a:lumOff val="40000"/>
                        </a:srgbClr>
                      </a:solidFill>
                      <a:effectLst/>
                      <a:uLnTx/>
                      <a:uFillTx/>
                      <a:latin typeface="Malgun Gothic" panose="020B0503020000020004" pitchFamily="34" charset="-127"/>
                      <a:ea typeface="Malgun Gothic" panose="020B0503020000020004" pitchFamily="34" charset="-127"/>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9789" y="683705"/>
                  <a:ext cx="952779" cy="476390"/>
                </a:xfrm>
                <a:prstGeom prst="rect">
                  <a:avLst/>
                </a:prstGeom>
              </p:spPr>
            </p:pic>
            <p:pic>
              <p:nvPicPr>
                <p:cNvPr id="77" name="Picture 76"/>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1033465" y="3256297"/>
                  <a:ext cx="1034297" cy="496687"/>
                </a:xfrm>
                <a:prstGeom prst="rect">
                  <a:avLst/>
                </a:prstGeom>
              </p:spPr>
            </p:pic>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72120" y="4418824"/>
                  <a:ext cx="1013790" cy="550389"/>
                </a:xfrm>
                <a:prstGeom prst="rect">
                  <a:avLst/>
                </a:prstGeom>
              </p:spPr>
            </p:pic>
            <p:pic>
              <p:nvPicPr>
                <p:cNvPr id="92" name="Picture 91"/>
                <p:cNvPicPr>
                  <a:picLocks noChangeAspect="1"/>
                </p:cNvPicPr>
                <p:nvPr/>
              </p:nvPicPr>
              <p:blipFill>
                <a:blip r:embed="rId7"/>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6621" y="3349531"/>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a:clrChange>
                    <a:clrFrom>
                      <a:srgbClr val="FFFFFF"/>
                    </a:clrFrom>
                    <a:clrTo>
                      <a:srgbClr val="FFFFFF">
                        <a:alpha val="0"/>
                      </a:srgbClr>
                    </a:clrTo>
                  </a:clrChange>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a:clrChange>
                    <a:clrFrom>
                      <a:srgbClr val="FFFFFF"/>
                    </a:clrFrom>
                    <a:clrTo>
                      <a:srgbClr val="FFFFFF">
                        <a:alpha val="0"/>
                      </a:srgbClr>
                    </a:clrTo>
                  </a:clrChange>
                </a:blip>
                <a:stretch>
                  <a:fillRect/>
                </a:stretch>
              </p:blipFill>
              <p:spPr>
                <a:xfrm>
                  <a:off x="8642502" y="708240"/>
                  <a:ext cx="646522" cy="376334"/>
                </a:xfrm>
                <a:prstGeom prst="rect">
                  <a:avLst/>
                </a:prstGeom>
              </p:spPr>
            </p:pic>
            <p:pic>
              <p:nvPicPr>
                <p:cNvPr id="99" name="Picture 98"/>
                <p:cNvPicPr>
                  <a:picLocks noChangeAspect="1"/>
                </p:cNvPicPr>
                <p:nvPr/>
              </p:nvPicPr>
              <p:blipFill>
                <a:blip r:embed="rId12">
                  <a:clrChange>
                    <a:clrFrom>
                      <a:srgbClr val="FFFFFF"/>
                    </a:clrFrom>
                    <a:clrTo>
                      <a:srgbClr val="FFFFFF">
                        <a:alpha val="0"/>
                      </a:srgbClr>
                    </a:clrTo>
                  </a:clrChange>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a:clrChange>
                    <a:clrFrom>
                      <a:srgbClr val="FDFDFD"/>
                    </a:clrFrom>
                    <a:clrTo>
                      <a:srgbClr val="FDFDFD">
                        <a:alpha val="0"/>
                      </a:srgbClr>
                    </a:clrTo>
                  </a:clrChange>
                </a:blip>
                <a:stretch>
                  <a:fillRect/>
                </a:stretch>
              </p:blipFill>
              <p:spPr>
                <a:xfrm>
                  <a:off x="9717764" y="750082"/>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a:clrChange>
                    <a:clrFrom>
                      <a:srgbClr val="FFFFFF"/>
                    </a:clrFrom>
                    <a:clrTo>
                      <a:srgbClr val="FFFFFF">
                        <a:alpha val="0"/>
                      </a:srgbClr>
                    </a:clrTo>
                  </a:clrChange>
                </a:blip>
                <a:stretch>
                  <a:fillRect/>
                </a:stretch>
              </p:blipFill>
              <p:spPr>
                <a:xfrm>
                  <a:off x="5966643" y="5859342"/>
                  <a:ext cx="848900" cy="413982"/>
                </a:xfrm>
                <a:prstGeom prst="rect">
                  <a:avLst/>
                </a:prstGeom>
              </p:spPr>
            </p:pic>
            <p:pic>
              <p:nvPicPr>
                <p:cNvPr id="106" name="Picture 105"/>
                <p:cNvPicPr>
                  <a:picLocks noChangeAspect="1"/>
                </p:cNvPicPr>
                <p:nvPr/>
              </p:nvPicPr>
              <p:blipFill>
                <a:blip r:embed="rId16">
                  <a:clrChange>
                    <a:clrFrom>
                      <a:srgbClr val="FFFFFF"/>
                    </a:clrFrom>
                    <a:clrTo>
                      <a:srgbClr val="FFFFFF">
                        <a:alpha val="0"/>
                      </a:srgbClr>
                    </a:clrTo>
                  </a:clrChange>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22242" y="831421"/>
                  <a:ext cx="1094679" cy="32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449479"/>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889288" y="829594"/>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a:clrChange>
                <a:clrFrom>
                  <a:srgbClr val="FFFFFF"/>
                </a:clrFrom>
                <a:clrTo>
                  <a:srgbClr val="FFFFFF">
                    <a:alpha val="0"/>
                  </a:srgbClr>
                </a:clrTo>
              </a:clrChange>
            </a:blip>
            <a:stretch>
              <a:fillRect/>
            </a:stretch>
          </p:blipFill>
          <p:spPr>
            <a:xfrm>
              <a:off x="8457264"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78734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3.xml.rels><?xml version="1.0" encoding="UTF-8" standalone="yes"?>
<Relationships xmlns="http://schemas.openxmlformats.org/package/2006/relationships"><Relationship Id="rId1" Type="http://schemas.openxmlformats.org/officeDocument/2006/relationships/image" Target="../media/image81.png"/></Relationships>
</file>

<file path=ppt/theme/theme1.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0.xml><?xml version="1.0" encoding="utf-8"?>
<a:theme xmlns:a="http://schemas.openxmlformats.org/drawingml/2006/main" name="6_IOYT Theme INDUSTRY 2015">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Тема Office">
  <a:themeElements>
    <a:clrScheme name="Другая 1">
      <a:dk1>
        <a:srgbClr val="060F18"/>
      </a:dk1>
      <a:lt1>
        <a:srgbClr val="FFFFFF"/>
      </a:lt1>
      <a:dk2>
        <a:srgbClr val="27282A"/>
      </a:dk2>
      <a:lt2>
        <a:srgbClr val="64BC46"/>
      </a:lt2>
      <a:accent1>
        <a:srgbClr val="55A51C"/>
      </a:accent1>
      <a:accent2>
        <a:srgbClr val="FF9630"/>
      </a:accent2>
      <a:accent3>
        <a:srgbClr val="02AED9"/>
      </a:accent3>
      <a:accent4>
        <a:srgbClr val="B20ECA"/>
      </a:accent4>
      <a:accent5>
        <a:srgbClr val="FB4040"/>
      </a:accent5>
      <a:accent6>
        <a:srgbClr val="0A70C7"/>
      </a:accent6>
      <a:hlink>
        <a:srgbClr val="0085CF"/>
      </a:hlink>
      <a:folHlink>
        <a:srgbClr val="C13832"/>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1_MSVID_Purple269_16x9_2012-08-18">
  <a:themeElements>
    <a:clrScheme name="Custom 13">
      <a:dk1>
        <a:srgbClr val="000000"/>
      </a:dk1>
      <a:lt1>
        <a:srgbClr val="FFFFFF"/>
      </a:lt1>
      <a:dk2>
        <a:srgbClr val="02163E"/>
      </a:dk2>
      <a:lt2>
        <a:srgbClr val="FFFFFF"/>
      </a:lt2>
      <a:accent1>
        <a:srgbClr val="540F67"/>
      </a:accent1>
      <a:accent2>
        <a:srgbClr val="883884"/>
      </a:accent2>
      <a:accent3>
        <a:srgbClr val="331747"/>
      </a:accent3>
      <a:accent4>
        <a:srgbClr val="3650B8"/>
      </a:accent4>
      <a:accent5>
        <a:srgbClr val="00027C"/>
      </a:accent5>
      <a:accent6>
        <a:srgbClr val="02163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Windows Azure Template Feb 2010">
  <a:themeElements>
    <a:clrScheme name="Windows Azure Dark Template">
      <a:dk1>
        <a:srgbClr val="000000"/>
      </a:dk1>
      <a:lt1>
        <a:srgbClr val="FFFFFF"/>
      </a:lt1>
      <a:dk2>
        <a:srgbClr val="16A5D9"/>
      </a:dk2>
      <a:lt2>
        <a:srgbClr val="AFFAFA"/>
      </a:lt2>
      <a:accent1>
        <a:srgbClr val="D7FEFD"/>
      </a:accent1>
      <a:accent2>
        <a:srgbClr val="FE5815"/>
      </a:accent2>
      <a:accent3>
        <a:srgbClr val="323232"/>
      </a:accent3>
      <a:accent4>
        <a:srgbClr val="5CC151"/>
      </a:accent4>
      <a:accent5>
        <a:srgbClr val="B8B8B8"/>
      </a:accent5>
      <a:accent6>
        <a:srgbClr val="DAF40A"/>
      </a:accent6>
      <a:hlink>
        <a:srgbClr val="AFFAFA"/>
      </a:hlink>
      <a:folHlink>
        <a:srgbClr val="AFFAFA"/>
      </a:folHlink>
    </a:clrScheme>
    <a:fontScheme name="Segoe UI">
      <a:majorFont>
        <a:latin typeface="Segoe UI"/>
        <a:ea typeface=""/>
        <a:cs typeface=""/>
      </a:majorFont>
      <a:minorFont>
        <a:latin typeface="Segoe UI"/>
        <a:ea typeface=""/>
        <a:cs typeface=""/>
      </a:minorFont>
    </a:fontScheme>
    <a:fmtScheme name="Verve">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0800" dist="38100" dir="14700000" algn="t" rotWithShape="0">
              <a:srgbClr val="000000">
                <a:alpha val="60000"/>
              </a:srgbClr>
            </a:outerShdw>
          </a:effectLst>
          <a:scene3d>
            <a:camera prst="orthographicFront" fov="0">
              <a:rot lat="0" lon="0" rev="0"/>
            </a:camera>
            <a:lightRig rig="contrasting" dir="t">
              <a:rot lat="0" lon="0" rev="3600000"/>
            </a:lightRig>
          </a:scene3d>
          <a:sp3d prstMaterial="plastic">
            <a:bevelT w="127000" h="38200" prst="relaxedInset"/>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a:spPr>
      <a:bodyPr vert="horz" wrap="square" lIns="91436" tIns="45718" rIns="91436" bIns="45718" numCol="1" rtlCol="0" anchor="ctr" anchorCtr="0" compatLnSpc="1">
        <a:prstTxWarp prst="textNoShape">
          <a:avLst/>
        </a:prstTxWarp>
      </a:bodyPr>
      <a:lstStyle>
        <a:defPPr algn="ctr" defTabSz="914099">
          <a:defRPr sz="2400" spc="-50" dirty="0" smtClean="0">
            <a:gradFill>
              <a:gsLst>
                <a:gs pos="0">
                  <a:srgbClr val="000000"/>
                </a:gs>
                <a:gs pos="100000">
                  <a:srgbClr val="000000"/>
                </a:gs>
              </a:gsLst>
              <a:lin ang="5400000" scaled="0"/>
            </a:gradFill>
          </a:defRPr>
        </a:defPPr>
      </a:lstStyle>
      <a:style>
        <a:lnRef idx="0">
          <a:schemeClr val="accent1"/>
        </a:lnRef>
        <a:fillRef idx="3">
          <a:schemeClr val="accent1"/>
        </a:fillRef>
        <a:effectRef idx="3">
          <a:schemeClr val="accent1"/>
        </a:effectRef>
        <a:fontRef idx="minor">
          <a:schemeClr val="lt1"/>
        </a:fontRef>
      </a:style>
    </a:spDef>
    <a:txDef>
      <a:spPr>
        <a:noFill/>
      </a:spPr>
      <a:bodyPr wrap="none" lIns="0" tIns="0" rIns="0" bIns="0" rtlCol="0">
        <a:spAutoFit/>
      </a:bodyPr>
      <a:lstStyle>
        <a:defPPr>
          <a:defRPr sz="3200" dirty="0" err="1" smtClean="0">
            <a:gradFill>
              <a:gsLst>
                <a:gs pos="0">
                  <a:schemeClr val="tx1"/>
                </a:gs>
                <a:gs pos="86000">
                  <a:schemeClr val="tx1"/>
                </a:gs>
              </a:gsLst>
              <a:lin ang="5400000" scaled="0"/>
            </a:gradFill>
            <a:effectLst>
              <a:outerShdw blurRad="63500" algn="ctr" rotWithShape="0">
                <a:schemeClr val="tx1">
                  <a:alpha val="60000"/>
                </a:schemeClr>
              </a:outerShdw>
            </a:effectLst>
          </a:defRPr>
        </a:defPPr>
      </a:lstStyle>
    </a:txDef>
  </a:objectDefaults>
  <a:extraClrScheme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MSVID_Purple269_16x9_2012-08-18">
  <a:themeElements>
    <a:clrScheme name="Custom 13">
      <a:dk1>
        <a:srgbClr val="000000"/>
      </a:dk1>
      <a:lt1>
        <a:srgbClr val="FFFFFF"/>
      </a:lt1>
      <a:dk2>
        <a:srgbClr val="02163E"/>
      </a:dk2>
      <a:lt2>
        <a:srgbClr val="FFFFFF"/>
      </a:lt2>
      <a:accent1>
        <a:srgbClr val="540F67"/>
      </a:accent1>
      <a:accent2>
        <a:srgbClr val="883884"/>
      </a:accent2>
      <a:accent3>
        <a:srgbClr val="331747"/>
      </a:accent3>
      <a:accent4>
        <a:srgbClr val="3650B8"/>
      </a:accent4>
      <a:accent5>
        <a:srgbClr val="00027C"/>
      </a:accent5>
      <a:accent6>
        <a:srgbClr val="02163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Openess 16-9_June-2014">
  <a:themeElements>
    <a:clrScheme name="Openess">
      <a:dk1>
        <a:srgbClr val="505050"/>
      </a:dk1>
      <a:lt1>
        <a:sysClr val="window" lastClr="FFFFFF"/>
      </a:lt1>
      <a:dk2>
        <a:srgbClr val="000000"/>
      </a:dk2>
      <a:lt2>
        <a:srgbClr val="E7E6E6"/>
      </a:lt2>
      <a:accent1>
        <a:srgbClr val="00188F"/>
      </a:accent1>
      <a:accent2>
        <a:srgbClr val="0072C6"/>
      </a:accent2>
      <a:accent3>
        <a:srgbClr val="008272"/>
      </a:accent3>
      <a:accent4>
        <a:srgbClr val="FF8C00"/>
      </a:accent4>
      <a:accent5>
        <a:srgbClr val="B4009E"/>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peness_2014_Template_16x9_r01.potx" id="{9AEF40BC-4E1A-4D6C-A429-0C2A87387DC2}" vid="{027EFA41-86E4-4FBF-AB40-2EAD28114D7D}"/>
    </a:ext>
  </a:extLst>
</a:theme>
</file>

<file path=ppt/theme/theme9.xml><?xml version="1.0" encoding="utf-8"?>
<a:theme xmlns:a="http://schemas.openxmlformats.org/drawingml/2006/main" name="Microsoft_Brand_template_16-9_WHITE_Teal_accent_2013">
  <a:themeElements>
    <a:clrScheme name="2013 White with Teal Accent Brand Template">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A867D46-42E6-418B-85CF-ABEA429A73BC}" vid="{42EFFCA8-1DC0-4993-B75B-DFF6E72F3957}"/>
    </a:ext>
  </a:extLst>
</a:theme>
</file>

<file path=docProps/app.xml><?xml version="1.0" encoding="utf-8"?>
<Properties xmlns="http://schemas.openxmlformats.org/officeDocument/2006/extended-properties" xmlns:vt="http://schemas.openxmlformats.org/officeDocument/2006/docPropsVTypes">
  <TotalTime>4439</TotalTime>
  <Words>1443</Words>
  <Application>Microsoft Office PowerPoint</Application>
  <PresentationFormat>와이드스크린</PresentationFormat>
  <Paragraphs>336</Paragraphs>
  <Slides>40</Slides>
  <Notes>25</Notes>
  <HiddenSlides>0</HiddenSlides>
  <MMClips>1</MMClips>
  <ScaleCrop>false</ScaleCrop>
  <HeadingPairs>
    <vt:vector size="8" baseType="variant">
      <vt:variant>
        <vt:lpstr>사용한 글꼴</vt:lpstr>
      </vt:variant>
      <vt:variant>
        <vt:i4>16</vt:i4>
      </vt:variant>
      <vt:variant>
        <vt:lpstr>테마</vt:lpstr>
      </vt:variant>
      <vt:variant>
        <vt:i4>14</vt:i4>
      </vt:variant>
      <vt:variant>
        <vt:lpstr>포함된 OLE 서버</vt:lpstr>
      </vt:variant>
      <vt:variant>
        <vt:i4>1</vt:i4>
      </vt:variant>
      <vt:variant>
        <vt:lpstr>슬라이드 제목</vt:lpstr>
      </vt:variant>
      <vt:variant>
        <vt:i4>40</vt:i4>
      </vt:variant>
    </vt:vector>
  </HeadingPairs>
  <TitlesOfParts>
    <vt:vector size="71" baseType="lpstr">
      <vt:lpstr>HY견고딕</vt:lpstr>
      <vt:lpstr>Kozuka Gothic Pro R</vt:lpstr>
      <vt:lpstr>MS PGothic</vt:lpstr>
      <vt:lpstr>Segoe</vt:lpstr>
      <vt:lpstr>나눔손글씨 펜</vt:lpstr>
      <vt:lpstr>Malgun Gothic</vt:lpstr>
      <vt:lpstr>Malgun Gothic</vt:lpstr>
      <vt:lpstr>휴먼편지체</vt:lpstr>
      <vt:lpstr>Arial</vt:lpstr>
      <vt:lpstr>Calibri</vt:lpstr>
      <vt:lpstr>Consolas</vt:lpstr>
      <vt:lpstr>Segoe UI</vt:lpstr>
      <vt:lpstr>Segoe UI Light</vt:lpstr>
      <vt:lpstr>Segoe UI Semibold</vt:lpstr>
      <vt:lpstr>Segoe UI Semilight</vt:lpstr>
      <vt:lpstr>Wingdings</vt:lpstr>
      <vt:lpstr>MGXFY15 GS Template - white layout</vt:lpstr>
      <vt:lpstr>8_3-30070_Windows_Server_Management_Marketing_Template_16x9</vt:lpstr>
      <vt:lpstr>3-30070_Windows_Server_Management_Marketing_Template_16x9</vt:lpstr>
      <vt:lpstr>WHITE TEMPLATE</vt:lpstr>
      <vt:lpstr>Windows Azure Template Feb 2010</vt:lpstr>
      <vt:lpstr>1_COLOR TEMPLATE</vt:lpstr>
      <vt:lpstr>MSVID_Purple269_16x9_2012-08-18</vt:lpstr>
      <vt:lpstr>Openess 16-9_June-2014</vt:lpstr>
      <vt:lpstr>Microsoft_Brand_template_16-9_WHITE_Teal_accent_2013</vt:lpstr>
      <vt:lpstr>6_IOYT Theme INDUSTRY 2015</vt:lpstr>
      <vt:lpstr>Тема Office</vt:lpstr>
      <vt:lpstr>Azure Medium</vt:lpstr>
      <vt:lpstr>MS1444_Windows Azure Template 16x9_r08a</vt:lpstr>
      <vt:lpstr>1_MSVID_Purple269_16x9_2012-08-18</vt:lpstr>
      <vt:lpstr>think-cell Slide</vt:lpstr>
      <vt:lpstr>PowerPoint 프레젠테이션</vt:lpstr>
      <vt:lpstr>PowerPoint 프레젠테이션</vt:lpstr>
      <vt:lpstr>PowerPoint 프레젠테이션</vt:lpstr>
      <vt:lpstr>PowerPoint 프레젠테이션</vt:lpstr>
      <vt:lpstr>War of IT</vt:lpstr>
      <vt:lpstr>PowerPoint 프레젠테이션</vt:lpstr>
      <vt:lpstr>PowerPoint 프레젠테이션</vt:lpstr>
      <vt:lpstr>PowerPoint 프레젠테이션</vt:lpstr>
      <vt:lpstr>PowerPoint 프레젠테이션</vt:lpstr>
      <vt:lpstr>PowerPoint 프레젠테이션</vt:lpstr>
      <vt:lpstr>클라우드의 종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Micrososft Azure</vt:lpstr>
      <vt:lpstr>실습: Ubuntu </vt:lpstr>
      <vt:lpstr>Azure Web App</vt:lpstr>
      <vt:lpstr>PowerPoint 프레젠테이션</vt:lpstr>
      <vt:lpstr>PowerPoint 프레젠테이션</vt:lpstr>
      <vt:lpstr>실습: Azure Web App</vt:lpstr>
      <vt:lpstr>PowerPoint 프레젠테이션</vt:lpstr>
      <vt:lpstr>실습: Github 연결</vt:lpstr>
      <vt:lpstr>PowerPoint 프레젠테이션</vt:lpstr>
      <vt:lpstr>실습: PHP</vt:lpstr>
      <vt:lpstr>PowerPoint 프레젠테이션</vt:lpstr>
      <vt:lpstr>실습: MySQL</vt:lpstr>
      <vt:lpstr>Scale</vt:lpstr>
      <vt:lpstr>PowerPoint 프레젠테이션</vt:lpstr>
      <vt:lpstr>PowerPoint 프레젠테이션</vt:lpstr>
      <vt:lpstr>PowerPoint 프레젠테이션</vt:lpstr>
      <vt:lpstr>PowerPoint 프레젠테이션</vt:lpstr>
      <vt:lpstr>PowerPoint 프레젠테이션</vt:lpstr>
      <vt:lpstr>Demo</vt:lpstr>
      <vt:lpstr>“and all that PaaS…”</vt:lpstr>
      <vt:lpstr>Microsoft Azure Services </vt:lpstr>
      <vt:lpstr>PowerPoint 프레젠테이션</vt:lpstr>
      <vt:lpstr>PowerPoint 프레젠테이션</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클라우드 이해하기</dc:title>
  <dc:creator>Young Wook Kim</dc:creator>
  <cp:lastModifiedBy>Young Wook Kim</cp:lastModifiedBy>
  <cp:revision>26</cp:revision>
  <dcterms:created xsi:type="dcterms:W3CDTF">2015-12-07T16:33:43Z</dcterms:created>
  <dcterms:modified xsi:type="dcterms:W3CDTF">2016-05-10T07:49:34Z</dcterms:modified>
</cp:coreProperties>
</file>